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comments/modernComment_1FA_B0FE6329.xml" ContentType="application/vnd.ms-powerpoint.comments+xml"/>
  <Override PartName="/ppt/tags/tag19.xml" ContentType="application/vnd.openxmlformats-officedocument.presentationml.tags+xml"/>
  <Override PartName="/ppt/notesSlides/notesSlide14.xml" ContentType="application/vnd.openxmlformats-officedocument.presentationml.notesSlide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notesSlides/notesSlide16.xml" ContentType="application/vnd.openxmlformats-officedocument.presentationml.notesSlide+xml"/>
  <Override PartName="/ppt/tags/tag22.xml" ContentType="application/vnd.openxmlformats-officedocument.presentationml.tags+xml"/>
  <Override PartName="/ppt/notesSlides/notesSlide17.xml" ContentType="application/vnd.openxmlformats-officedocument.presentationml.notesSlide+xml"/>
  <Override PartName="/ppt/comments/modernComment_1FF_4A6C7B39.xml" ContentType="application/vnd.ms-powerpoint.comments+xml"/>
  <Override PartName="/ppt/tags/tag23.xml" ContentType="application/vnd.openxmlformats-officedocument.presentationml.tags+xml"/>
  <Override PartName="/ppt/notesSlides/notesSlide18.xml" ContentType="application/vnd.openxmlformats-officedocument.presentationml.notesSlide+xml"/>
  <Override PartName="/ppt/tags/tag24.xml" ContentType="application/vnd.openxmlformats-officedocument.presentationml.tags+xml"/>
  <Override PartName="/ppt/notesSlides/notesSlide19.xml" ContentType="application/vnd.openxmlformats-officedocument.presentationml.notesSlide+xml"/>
  <Override PartName="/ppt/tags/tag25.xml" ContentType="application/vnd.openxmlformats-officedocument.presentationml.tags+xml"/>
  <Override PartName="/ppt/notesSlides/notesSlide20.xml" ContentType="application/vnd.openxmlformats-officedocument.presentationml.notesSlide+xml"/>
  <Override PartName="/ppt/tags/tag26.xml" ContentType="application/vnd.openxmlformats-officedocument.presentationml.tags+xml"/>
  <Override PartName="/ppt/notesSlides/notesSlide21.xml" ContentType="application/vnd.openxmlformats-officedocument.presentationml.notesSlide+xml"/>
  <Override PartName="/ppt/tags/tag27.xml" ContentType="application/vnd.openxmlformats-officedocument.presentationml.tags+xml"/>
  <Override PartName="/ppt/notesSlides/notesSlide22.xml" ContentType="application/vnd.openxmlformats-officedocument.presentationml.notesSlide+xml"/>
  <Override PartName="/ppt/tags/tag28.xml" ContentType="application/vnd.openxmlformats-officedocument.presentationml.tags+xml"/>
  <Override PartName="/ppt/notesSlides/notesSlide23.xml" ContentType="application/vnd.openxmlformats-officedocument.presentationml.notesSlide+xml"/>
  <Override PartName="/ppt/tags/tag29.xml" ContentType="application/vnd.openxmlformats-officedocument.presentationml.tags+xml"/>
  <Override PartName="/ppt/notesSlides/notesSlide24.xml" ContentType="application/vnd.openxmlformats-officedocument.presentationml.notesSlide+xml"/>
  <Override PartName="/ppt/tags/tag30.xml" ContentType="application/vnd.openxmlformats-officedocument.presentationml.tags+xml"/>
  <Override PartName="/ppt/notesSlides/notesSlide25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6.xml" ContentType="application/vnd.openxmlformats-officedocument.presentationml.notesSlide+xml"/>
  <Override PartName="/ppt/tags/tag42.xml" ContentType="application/vnd.openxmlformats-officedocument.presentationml.tags+xml"/>
  <Override PartName="/ppt/notesSlides/notesSlide27.xml" ContentType="application/vnd.openxmlformats-officedocument.presentationml.notesSlide+xml"/>
  <Override PartName="/ppt/tags/tag43.xml" ContentType="application/vnd.openxmlformats-officedocument.presentationml.tags+xml"/>
  <Override PartName="/ppt/notesSlides/notesSlide28.xml" ContentType="application/vnd.openxmlformats-officedocument.presentationml.notesSlide+xml"/>
  <Override PartName="/ppt/tags/tag44.xml" ContentType="application/vnd.openxmlformats-officedocument.presentationml.tags+xml"/>
  <Override PartName="/ppt/notesSlides/notesSlide29.xml" ContentType="application/vnd.openxmlformats-officedocument.presentationml.notesSlide+xml"/>
  <Override PartName="/ppt/tags/tag45.xml" ContentType="application/vnd.openxmlformats-officedocument.presentationml.tags+xml"/>
  <Override PartName="/ppt/notesSlides/notesSlide30.xml" ContentType="application/vnd.openxmlformats-officedocument.presentationml.notesSlide+xml"/>
  <Override PartName="/ppt/tags/tag46.xml" ContentType="application/vnd.openxmlformats-officedocument.presentationml.tags+xml"/>
  <Override PartName="/ppt/notesSlides/notesSlide31.xml" ContentType="application/vnd.openxmlformats-officedocument.presentationml.notesSlide+xml"/>
  <Override PartName="/ppt/tags/tag47.xml" ContentType="application/vnd.openxmlformats-officedocument.presentationml.tags+xml"/>
  <Override PartName="/ppt/notesSlides/notesSlide32.xml" ContentType="application/vnd.openxmlformats-officedocument.presentationml.notesSlide+xml"/>
  <Override PartName="/ppt/tags/tag48.xml" ContentType="application/vnd.openxmlformats-officedocument.presentationml.tags+xml"/>
  <Override PartName="/ppt/notesSlides/notesSlide33.xml" ContentType="application/vnd.openxmlformats-officedocument.presentationml.notesSlide+xml"/>
  <Override PartName="/ppt/tags/tag49.xml" ContentType="application/vnd.openxmlformats-officedocument.presentationml.tags+xml"/>
  <Override PartName="/ppt/notesSlides/notesSlide34.xml" ContentType="application/vnd.openxmlformats-officedocument.presentationml.notesSlide+xml"/>
  <Override PartName="/ppt/tags/tag50.xml" ContentType="application/vnd.openxmlformats-officedocument.presentationml.tags+xml"/>
  <Override PartName="/ppt/notesSlides/notesSlide35.xml" ContentType="application/vnd.openxmlformats-officedocument.presentationml.notesSlide+xml"/>
  <Override PartName="/ppt/comments/modernComment_202_215E2D5E.xml" ContentType="application/vnd.ms-powerpoint.comments+xml"/>
  <Override PartName="/ppt/tags/tag51.xml" ContentType="application/vnd.openxmlformats-officedocument.presentationml.tags+xml"/>
  <Override PartName="/ppt/notesSlides/notesSlide36.xml" ContentType="application/vnd.openxmlformats-officedocument.presentationml.notesSlide+xml"/>
  <Override PartName="/ppt/comments/modernComment_1F6_B8F6D306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43"/>
  </p:notesMasterIdLst>
  <p:sldIdLst>
    <p:sldId id="256" r:id="rId6"/>
    <p:sldId id="488" r:id="rId7"/>
    <p:sldId id="451" r:id="rId8"/>
    <p:sldId id="452" r:id="rId9"/>
    <p:sldId id="516" r:id="rId10"/>
    <p:sldId id="521" r:id="rId11"/>
    <p:sldId id="454" r:id="rId12"/>
    <p:sldId id="489" r:id="rId13"/>
    <p:sldId id="478" r:id="rId14"/>
    <p:sldId id="491" r:id="rId15"/>
    <p:sldId id="504" r:id="rId16"/>
    <p:sldId id="509" r:id="rId17"/>
    <p:sldId id="505" r:id="rId18"/>
    <p:sldId id="506" r:id="rId19"/>
    <p:sldId id="507" r:id="rId20"/>
    <p:sldId id="515" r:id="rId21"/>
    <p:sldId id="510" r:id="rId22"/>
    <p:sldId id="511" r:id="rId23"/>
    <p:sldId id="512" r:id="rId24"/>
    <p:sldId id="513" r:id="rId25"/>
    <p:sldId id="518" r:id="rId26"/>
    <p:sldId id="493" r:id="rId27"/>
    <p:sldId id="520" r:id="rId28"/>
    <p:sldId id="487" r:id="rId29"/>
    <p:sldId id="522" r:id="rId30"/>
    <p:sldId id="508" r:id="rId31"/>
    <p:sldId id="458" r:id="rId32"/>
    <p:sldId id="465" r:id="rId33"/>
    <p:sldId id="460" r:id="rId34"/>
    <p:sldId id="477" r:id="rId35"/>
    <p:sldId id="467" r:id="rId36"/>
    <p:sldId id="468" r:id="rId37"/>
    <p:sldId id="479" r:id="rId38"/>
    <p:sldId id="485" r:id="rId39"/>
    <p:sldId id="517" r:id="rId40"/>
    <p:sldId id="514" r:id="rId41"/>
    <p:sldId id="502" r:id="rId42"/>
  </p:sldIdLst>
  <p:sldSz cx="12192000" cy="6858000"/>
  <p:notesSz cx="6858000" cy="91440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5C3D2A8-E313-8348-9EF7-ED6113B1A451}">
          <p14:sldIdLst>
            <p14:sldId id="256"/>
            <p14:sldId id="488"/>
            <p14:sldId id="451"/>
            <p14:sldId id="452"/>
            <p14:sldId id="516"/>
            <p14:sldId id="521"/>
            <p14:sldId id="454"/>
            <p14:sldId id="489"/>
            <p14:sldId id="478"/>
            <p14:sldId id="491"/>
            <p14:sldId id="504"/>
            <p14:sldId id="509"/>
            <p14:sldId id="505"/>
            <p14:sldId id="506"/>
            <p14:sldId id="507"/>
            <p14:sldId id="515"/>
            <p14:sldId id="510"/>
            <p14:sldId id="511"/>
            <p14:sldId id="512"/>
            <p14:sldId id="513"/>
            <p14:sldId id="518"/>
            <p14:sldId id="493"/>
            <p14:sldId id="520"/>
            <p14:sldId id="487"/>
            <p14:sldId id="522"/>
          </p14:sldIdLst>
        </p14:section>
        <p14:section name="Backup" id="{B0F5AEF6-17FD-2542-952B-02B406FB66F8}">
          <p14:sldIdLst>
            <p14:sldId id="508"/>
            <p14:sldId id="458"/>
            <p14:sldId id="465"/>
            <p14:sldId id="460"/>
            <p14:sldId id="477"/>
            <p14:sldId id="467"/>
            <p14:sldId id="468"/>
            <p14:sldId id="479"/>
            <p14:sldId id="485"/>
            <p14:sldId id="517"/>
            <p14:sldId id="514"/>
            <p14:sldId id="50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A39608-5B04-B0A9-81F0-DB6364FF48AC}" name="Sakakeeny, Jordan A. (ARC-AFH)" initials="SJA(A" userId="S::jsakakee@ndc.nasa.gov::58486e60-b67c-4377-9366-57576e0aeb91" providerId="AD"/>
  <p188:author id="{F454222B-175C-CA35-7E97-3633F8C5B757}" name="Felix Sievers" initials="FS" userId="Felix Sievers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D3354"/>
    <a:srgbClr val="FCC538"/>
    <a:srgbClr val="FFAA61"/>
    <a:srgbClr val="FFD401"/>
    <a:srgbClr val="FF9B0A"/>
    <a:srgbClr val="F6F7CD"/>
    <a:srgbClr val="F3FBFF"/>
    <a:srgbClr val="E7EAEE"/>
    <a:srgbClr val="063354"/>
    <a:srgbClr val="E7EB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204" autoAdjust="0"/>
    <p:restoredTop sz="88640"/>
  </p:normalViewPr>
  <p:slideViewPr>
    <p:cSldViewPr snapToGrid="0">
      <p:cViewPr varScale="1">
        <p:scale>
          <a:sx n="197" d="100"/>
          <a:sy n="197" d="100"/>
        </p:scale>
        <p:origin x="1960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omments/modernComment_1F6_B8F6D30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1DC6BB4-F02A-6B46-BEA3-DEBEFF7BB1B4}" authorId="{F8A39608-5B04-B0A9-81F0-DB6364FF48AC}" created="2023-09-18T17:35:42.797">
    <pc:sldMkLst xmlns:pc="http://schemas.microsoft.com/office/powerpoint/2013/main/command">
      <pc:docMk/>
      <pc:sldMk cId="3432909711" sldId="502"/>
    </pc:sldMkLst>
    <p188:replyLst>
      <p188:reply id="{6F1DC73D-5B5D-244B-815F-C3DB30257CC0}" authorId="{F8A39608-5B04-B0A9-81F0-DB6364FF48AC}" created="2023-09-18T17:36:01.450">
        <p188:txBody>
          <a:bodyPr/>
          <a:lstStyle/>
          <a:p>
            <a:r>
              <a:rPr lang="en-US"/>
              <a:t>Could cut summary - already made points</a:t>
            </a:r>
          </a:p>
        </p188:txBody>
      </p188:reply>
    </p188:replyLst>
    <p188:txBody>
      <a:bodyPr/>
      <a:lstStyle/>
      <a:p>
        <a:r>
          <a:rPr lang="en-US"/>
          <a:t>Reduce to two slides</a:t>
        </a:r>
      </a:p>
    </p188:txBody>
  </p188:cm>
</p188:cmLst>
</file>

<file path=ppt/comments/modernComment_1FA_B0FE632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17658B9-87D6-9B48-BBD8-70ADD9979F28}" authorId="{F8A39608-5B04-B0A9-81F0-DB6364FF48AC}" status="resolved" created="2023-09-18T17:17:32.650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969461545" sldId="506"/>
      <ac:graphicFrameMk id="33" creationId="{819EBBAF-E860-0193-1E1C-682B492FD09A}"/>
      <ac:tblMk/>
      <ac:tcMk rowId="133558463" colId="1151512134"/>
      <ac:txMk cp="0" len="2">
        <ac:context len="23" hash="3026041288"/>
      </ac:txMk>
    </ac:txMkLst>
    <p188:pos x="5963194" y="1548160"/>
    <p188:replyLst>
      <p188:reply id="{AAFAE1EA-628F-5D49-8236-BD37922A858F}" authorId="{F8A39608-5B04-B0A9-81F0-DB6364FF48AC}" created="2023-09-18T17:56:38.258">
        <p188:txBody>
          <a:bodyPr/>
          <a:lstStyle/>
          <a:p>
            <a:r>
              <a:rPr lang="en-US"/>
              <a:t>Alternatively could just drop most of this slide</a:t>
            </a:r>
          </a:p>
        </p188:txBody>
      </p188:reply>
    </p188:replyLst>
    <p188:txBody>
      <a:bodyPr/>
      <a:lstStyle/>
      <a:p>
        <a:r>
          <a:rPr lang="en-US"/>
          <a:t>Swap and put bold(22 towered) and 173 total in parentheses</a:t>
        </a:r>
      </a:p>
    </p188:txBody>
  </p188:cm>
</p188:cmLst>
</file>

<file path=ppt/comments/modernComment_1FF_4A6C7B3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953F82D-2ACB-8647-8855-C216E961C66A}" authorId="{F8A39608-5B04-B0A9-81F0-DB6364FF48AC}" created="2023-09-18T17:27:38.18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248623417" sldId="511"/>
      <ac:picMk id="9" creationId="{0E0BF553-5EB2-9BEC-AF24-C23C87799F11}"/>
    </ac:deMkLst>
    <p188:replyLst>
      <p188:reply id="{0928C59A-3D59-6B46-B628-AD93498CCB3C}" authorId="{F8A39608-5B04-B0A9-81F0-DB6364FF48AC}" created="2023-09-18T17:28:07.454">
        <p188:txBody>
          <a:bodyPr/>
          <a:lstStyle/>
          <a:p>
            <a:r>
              <a:rPr lang="en-US"/>
              <a:t>Visualize the circles larger than the triangles</a:t>
            </a:r>
          </a:p>
        </p188:txBody>
      </p188:reply>
      <p188:reply id="{D174907E-F598-D247-A2CB-1C90E083438F}" authorId="{F8A39608-5B04-B0A9-81F0-DB6364FF48AC}" created="2023-09-18T17:28:54.430">
        <p188:txBody>
          <a:bodyPr/>
          <a:lstStyle/>
          <a:p>
            <a:r>
              <a:rPr lang="en-US"/>
              <a:t>Make red and black circles larger, others smaller</a:t>
            </a:r>
          </a:p>
        </p188:txBody>
      </p188:reply>
    </p188:replyLst>
    <p188:txBody>
      <a:bodyPr/>
      <a:lstStyle/>
      <a:p>
        <a:r>
          <a:rPr lang="en-US"/>
          <a:t>Put potential UAS symbols on the top</a:t>
        </a:r>
      </a:p>
    </p188:txBody>
  </p188:cm>
</p188:cmLst>
</file>

<file path=ppt/comments/modernComment_202_215E2D5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3CF86FD-6770-A14B-B2F9-1B2F0B0E6C69}" authorId="{F8A39608-5B04-B0A9-81F0-DB6364FF48AC}" created="2023-09-07T21:28:03.57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559820126" sldId="514"/>
      <ac:spMk id="2" creationId="{0CEC38CF-8ABE-643C-E432-486171FE3960}"/>
      <ac:txMk cp="24" len="2">
        <ac:context len="99" hash="1528201125"/>
      </ac:txMk>
    </ac:txMkLst>
    <p188:pos x="4954360" y="439511"/>
    <p188:replyLst>
      <p188:reply id="{1F3EBE99-A34D-B94D-90FC-52345BA13B81}" authorId="{F454222B-175C-CA35-7E97-3633F8C5B757}" created="2023-09-08T09:49:01.203">
        <p188:txBody>
          <a:bodyPr/>
          <a:lstStyle/>
          <a:p>
            <a:r>
              <a:rPr lang="de-DE"/>
              <a:t>We can also just reduce to three aircraft types for example</a:t>
            </a:r>
          </a:p>
        </p188:txBody>
      </p188:reply>
      <p188:reply id="{8E9BB641-E68B-A941-B05C-954AFB8403E2}" authorId="{F8A39608-5B04-B0A9-81F0-DB6364FF48AC}" created="2023-09-11T15:53:25.303">
        <p188:txBody>
          <a:bodyPr/>
          <a:lstStyle/>
          <a:p>
            <a:r>
              <a:rPr lang="en-US"/>
              <a:t>Say more about why information is important than just showing information</a:t>
            </a:r>
          </a:p>
        </p188:txBody>
      </p188:reply>
      <p188:reply id="{0F9EEA3B-39E7-2242-850C-98C75A190A34}" authorId="{F8A39608-5B04-B0A9-81F0-DB6364FF48AC}" created="2023-09-11T16:45:11.377">
        <p188:txBody>
          <a:bodyPr/>
          <a:lstStyle/>
          <a:p>
            <a:r>
              <a:rPr lang="en-US"/>
              <a:t>Show one row but don’t need to show all of them</a:t>
            </a:r>
          </a:p>
        </p188:txBody>
      </p188:reply>
      <p188:reply id="{375FD852-EFD5-FC4F-9E05-011CC3E0CB54}" authorId="{F8A39608-5B04-B0A9-81F0-DB6364FF48AC}" created="2023-09-11T16:45:53.927">
        <p188:txBody>
          <a:bodyPr/>
          <a:lstStyle/>
          <a:p>
            <a:r>
              <a:rPr lang="en-US"/>
              <a:t>Potentially show the steps we took to get her</a:t>
            </a:r>
          </a:p>
        </p188:txBody>
      </p188:reply>
    </p188:replyLst>
    <p188:txBody>
      <a:bodyPr/>
      <a:lstStyle/>
      <a:p>
        <a:r>
          <a:rPr lang="en-US"/>
          <a:t>May need to simplify this slide or animate to reduce visual clutter. 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C7AC08-6B77-C443-B290-C4D2D32FF50D}" type="datetimeFigureOut">
              <a:rPr lang="de-DE" smtClean="0"/>
              <a:t>03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DF88BA-F3B0-8647-B5CC-9F1344DCAEE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27293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cked with information – slides liked best (slide 5) </a:t>
            </a:r>
          </a:p>
          <a:p>
            <a:r>
              <a:rPr lang="en-US" dirty="0"/>
              <a:t>Potential place to reduce: highlight these things are needed, could reduce discussion of </a:t>
            </a:r>
            <a:r>
              <a:rPr lang="en-US" dirty="0" err="1"/>
              <a:t>autoland</a:t>
            </a:r>
            <a:r>
              <a:rPr lang="en-US" dirty="0"/>
              <a:t>, we considered this, these are big things to hit, in the paper we looked at applicability of CAT III, these are large topics, but we focused on this </a:t>
            </a:r>
            <a:r>
              <a:rPr lang="en-US" dirty="0" err="1"/>
              <a:t>thisand</a:t>
            </a:r>
            <a:r>
              <a:rPr lang="en-US" dirty="0"/>
              <a:t> this</a:t>
            </a:r>
          </a:p>
          <a:p>
            <a:r>
              <a:rPr lang="en-US" dirty="0"/>
              <a:t>^ Slides 18 and 19</a:t>
            </a:r>
          </a:p>
          <a:p>
            <a:r>
              <a:rPr lang="en-US" dirty="0"/>
              <a:t>Can cut MTOW talk – did this in the paper </a:t>
            </a:r>
          </a:p>
          <a:p>
            <a:r>
              <a:rPr lang="en-US" dirty="0"/>
              <a:t>Make clear that ILS/GLS are currently certified for crewed aircraft but not UAS </a:t>
            </a:r>
          </a:p>
          <a:p>
            <a:r>
              <a:rPr lang="en-US" dirty="0"/>
              <a:t>Could cut justification for 2.2% - justifications are in the paper</a:t>
            </a:r>
          </a:p>
          <a:p>
            <a:r>
              <a:rPr lang="en-US" dirty="0"/>
              <a:t>Two axes (% of IFR) and IAP availability – main conclusions drawn from squeezing these two filters – additional little details in there - could we show the “knee in the curve” re: 2.2% </a:t>
            </a:r>
          </a:p>
          <a:p>
            <a:r>
              <a:rPr lang="en-US" dirty="0"/>
              <a:t>Previous work identified Germany, California, and Texas as good options – see other paper for more inf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DF88BA-F3B0-8647-B5CC-9F1344DCAEE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0085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aska is a potentially very interesting use case for cargo UAS but geographically unique a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 quite comparable for other US st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 probably merge 13/14 and say Germany, Texas, and California were chosen – see previous work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80441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13088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14734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59374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68487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86315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2031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5859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03700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07390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1558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19622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26063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28433A-3D12-444A-8A1F-2969B3EF30AF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615924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lude final closure slide, references, and then backup figures</a:t>
            </a:r>
          </a:p>
          <a:p>
            <a:r>
              <a:rPr lang="en-US" dirty="0"/>
              <a:t>Takeaway – how all this analysis is relative to future UAS traffic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28433A-3D12-444A-8A1F-2969B3EF30AF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1504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lude final closure slide, references, and then backup figures</a:t>
            </a:r>
          </a:p>
          <a:p>
            <a:r>
              <a:rPr lang="en-US" dirty="0"/>
              <a:t>Takeaway – how all this analysis is relative to future UAS traffic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28433A-3D12-444A-8A1F-2969B3EF30AF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04614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effectLst/>
              </a:rPr>
              <a:t>*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FedEx Express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has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a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waiver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to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report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all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of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its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small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aircraft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as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Beechcraft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Beech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18 C-185 (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Beech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18)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to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the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BTS,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without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regard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to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the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actual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aircraft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type.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Therefore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,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it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will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be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excluded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from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further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investigation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throughout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the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study</a:t>
            </a:r>
            <a:r>
              <a:rPr lang="de-DE" sz="18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.</a:t>
            </a:r>
            <a:r>
              <a:rPr lang="en-US" dirty="0">
                <a:effectLst/>
              </a:rPr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91781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658B"/>
                </a:solidFill>
              </a:rPr>
              <a:t>Felix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14528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696043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y use 1,000 km as the cut-off distance  - confirm assumption</a:t>
            </a:r>
          </a:p>
          <a:p>
            <a:r>
              <a:rPr lang="en-US" dirty="0"/>
              <a:t>Consider putting this slid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354231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lete last column, make Europe red, US blue, separate left column with buffer, clarify title/table title</a:t>
            </a:r>
          </a:p>
          <a:p>
            <a:r>
              <a:rPr lang="en-US" dirty="0"/>
              <a:t>Put note on this slide that we use US percentage in European data analysis for regional aircraft distance estimates</a:t>
            </a:r>
          </a:p>
          <a:p>
            <a:r>
              <a:rPr lang="en-US" dirty="0"/>
              <a:t>Consider ways to simplify this table </a:t>
            </a:r>
          </a:p>
          <a:p>
            <a:r>
              <a:rPr lang="en-US" dirty="0"/>
              <a:t>Validate that we are getting a large number of flights here </a:t>
            </a:r>
          </a:p>
          <a:p>
            <a:r>
              <a:rPr lang="en-US" dirty="0"/>
              <a:t>Consider bar graph of percentages instead of the tabl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90018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439281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itle: </a:t>
            </a:r>
            <a:r>
              <a:rPr lang="en-US" sz="1200" dirty="0"/>
              <a:t>Airport Pairs With &lt;1,000 km Distance Between Them</a:t>
            </a:r>
          </a:p>
          <a:p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/>
              <a:t>Note: </a:t>
            </a:r>
            <a:r>
              <a:rPr lang="en-US" sz="1200" b="1" i="1" dirty="0"/>
              <a:t>European</a:t>
            </a:r>
            <a:r>
              <a:rPr lang="en-US" sz="1200" i="1" dirty="0"/>
              <a:t> data for airport pairs are </a:t>
            </a:r>
            <a:r>
              <a:rPr lang="en-US" sz="1200" b="1" i="1" dirty="0"/>
              <a:t>primarily from main commercial airports</a:t>
            </a:r>
            <a:r>
              <a:rPr lang="en-US" sz="1200" i="1" dirty="0"/>
              <a:t>, whereas the US data includes main, other, and small commercial airports</a:t>
            </a:r>
            <a:endParaRPr lang="en-US" sz="12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87611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itle: </a:t>
            </a:r>
            <a:r>
              <a:rPr lang="en-US" sz="1200" dirty="0"/>
              <a:t>Cargo Flight Movements &lt;1,000 km in Distance</a:t>
            </a:r>
          </a:p>
          <a:p>
            <a:r>
              <a:rPr lang="en-US" sz="1200" dirty="0"/>
              <a:t>Cargo tonnage carried in US and Europe was roughly the same despite fewer flights in Europe </a:t>
            </a:r>
          </a:p>
          <a:p>
            <a:r>
              <a:rPr lang="en-US" sz="1200" dirty="0"/>
              <a:t>Similar tonnage indicates similar market size, potentially, but way it is transported is different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55278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rd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2052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000" dirty="0"/>
              <a:t>Eurostat defines airports by passenger units:</a:t>
            </a:r>
          </a:p>
          <a:p>
            <a:pPr lvl="1"/>
            <a:r>
              <a:rPr lang="en-US" dirty="0"/>
              <a:t>1 passenger unit = 1 passenger or 100 kg of cargo</a:t>
            </a:r>
          </a:p>
          <a:p>
            <a:pPr lvl="1"/>
            <a:r>
              <a:rPr lang="en-US" dirty="0"/>
              <a:t>Categories: </a:t>
            </a:r>
            <a:r>
              <a:rPr lang="en-US" b="1" dirty="0"/>
              <a:t>main</a:t>
            </a:r>
            <a:r>
              <a:rPr lang="en-US" dirty="0"/>
              <a:t>, </a:t>
            </a:r>
            <a:r>
              <a:rPr lang="en-US" b="1" dirty="0"/>
              <a:t>other</a:t>
            </a:r>
            <a:r>
              <a:rPr lang="en-US" dirty="0"/>
              <a:t>, and </a:t>
            </a:r>
            <a:r>
              <a:rPr lang="en-US" b="1" dirty="0"/>
              <a:t>sma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402216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839685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404894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28433A-3D12-444A-8A1F-2969B3EF30AF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253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5142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DF88BA-F3B0-8647-B5CC-9F1344DCAEE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93567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97300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326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48012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8433A-3D12-444A-8A1F-2969B3EF30A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41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10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058AAB93-B9F2-AC1B-BDDF-BD376F0A40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8D3D251-9765-D2E1-FFB3-24F98E5462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84388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FB3939-84E7-3F7E-6C78-0A39686302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564063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0BD801-8FA8-61DA-6467-C8DDA1B7C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926A43-8485-08FC-EB71-E821E72639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8DA5BF-B7F9-C598-BCFE-DE01FDEBA9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black and white image of a person's face&#10;&#10;Description automatically generated with low confidence">
            <a:extLst>
              <a:ext uri="{FF2B5EF4-FFF2-40B4-BE49-F238E27FC236}">
                <a16:creationId xmlns:a16="http://schemas.microsoft.com/office/drawing/2014/main" id="{4BC2A7F0-165E-48A4-1CBF-D67906AEC1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2212" y="880361"/>
            <a:ext cx="5187576" cy="1783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45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EDA71-3DC9-53F0-4CC3-441A71AC3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B16F12-0083-1C2C-13C0-55D21C13DE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6B4DD8-8733-BD31-DC9B-6C1E54E3C1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983CB2-E3DF-4C59-6DA1-8BA50AED5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15F6A3-53A9-6318-ED88-B430AD928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027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97E2F0-741C-1857-A368-669F726527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E1B7C9-AC8D-6494-46F3-EE9822BB72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6F5A84-6334-9889-5A7C-B4CF35A9E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58A896-FC37-A6F6-DB0C-E931ECCBB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7DC54F-6DC5-5CF7-F06A-B26D7B905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9562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E292B943-63E8-4E1E-B31E-5FE386090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5CF0C306-39D7-4EAE-89DF-69763743BA67}"/>
              </a:ext>
            </a:extLst>
          </p:cNvPr>
          <p:cNvSpPr/>
          <p:nvPr userDrawn="1"/>
        </p:nvSpPr>
        <p:spPr>
          <a:xfrm>
            <a:off x="0" y="0"/>
            <a:ext cx="695325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E5C513F-BDE5-4EEA-A208-17CFB8B9C3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6" y="3809454"/>
            <a:ext cx="9697665" cy="1141439"/>
          </a:xfrm>
          <a:solidFill>
            <a:schemeClr val="accent1">
              <a:lumMod val="50000"/>
              <a:alpha val="80000"/>
            </a:schemeClr>
          </a:solidFill>
          <a:ln>
            <a:noFill/>
          </a:ln>
        </p:spPr>
        <p:txBody>
          <a:bodyPr lIns="288000" tIns="144000" rIns="432000" bIns="144000" anchor="ctr">
            <a:normAutofit/>
          </a:bodyPr>
          <a:lstStyle>
            <a:lvl1pPr marL="71755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2A8061A-9228-4DB0-8D9D-1B65E6A7D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323750"/>
            <a:ext cx="9541821" cy="3221856"/>
          </a:xfrm>
        </p:spPr>
        <p:txBody>
          <a:bodyPr lIns="216000" tIns="0" rIns="0" bIns="108000" anchor="b">
            <a:noAutofit/>
          </a:bodyPr>
          <a:lstStyle>
            <a:lvl1pPr>
              <a:defRPr sz="4800" b="1" cap="all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5B16576-B954-4493-9E58-E9C5386E812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991" y="5268397"/>
            <a:ext cx="1532709" cy="1265853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E58F85F-E39F-6DF2-648B-F85C48FB19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E76295D-E20E-919F-946F-82E3A703EF7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425600" y="6544800"/>
            <a:ext cx="4114800" cy="257774"/>
          </a:xfrm>
        </p:spPr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36F62BF2-51AF-1DD7-D8C4-972C13667E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9318" y="5140302"/>
            <a:ext cx="1833673" cy="1533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21473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2F87A75-3F72-6661-3C8C-5F55ECF6EF1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0"/>
            <a:ext cx="11904662" cy="6858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CAB873-861B-47E3-BAE9-07181DA521FB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E04937E-4444-4817-AF16-D7E7EA0FEA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A0C9CC46-BAE5-4171-9813-A78515AF7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999" y="5101588"/>
            <a:ext cx="10693822" cy="1141438"/>
          </a:xfrm>
          <a:solidFill>
            <a:schemeClr val="accent1">
              <a:lumMod val="50000"/>
              <a:alpha val="80000"/>
            </a:schemeClr>
          </a:solidFill>
        </p:spPr>
        <p:txBody>
          <a:bodyPr lIns="396000" tIns="0" rIns="72000" bIns="0" anchor="ctr">
            <a:normAutofit/>
          </a:bodyPr>
          <a:lstStyle>
            <a:lvl1pPr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246B2-203D-4635-9023-C83C1FB1E1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83600" y="302400"/>
            <a:ext cx="943200" cy="781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2C564B2-3B65-9088-DFD7-AB7EDE92BA4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20085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1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B923A54-BCB6-B4A8-7E64-E94F9615C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1206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B923A54-BCB6-B4A8-7E64-E94F9615C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C03D0210-3545-D8BE-D2F6-4B9ADDC24A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627200"/>
            <a:ext cx="10801349" cy="489585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91817E-6423-D72F-7A29-7C696C78EB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698D45A-E1A6-B01A-20C4-EFAD0F8BAD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1372" y="6114673"/>
            <a:ext cx="635061" cy="524493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E2E8734F-28DA-E204-9B09-775953801B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36" y="6085978"/>
            <a:ext cx="695836" cy="58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30533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095625"/>
            <a:ext cx="10801349" cy="4428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1"/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E99B02-7125-B0DB-A965-82CB442B297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760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095625"/>
            <a:ext cx="5400675" cy="18507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1"/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1A67A15-EB3D-B357-6153-033E99D3426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95325" y="4673892"/>
            <a:ext cx="5400675" cy="18507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23">
            <a:extLst>
              <a:ext uri="{FF2B5EF4-FFF2-40B4-BE49-F238E27FC236}">
                <a16:creationId xmlns:a16="http://schemas.microsoft.com/office/drawing/2014/main" id="{7951DB75-C581-BF8A-0FC7-DF33D2FBE04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5325" y="4066055"/>
            <a:ext cx="3482038" cy="439824"/>
          </a:xfrm>
          <a:solidFill>
            <a:schemeClr val="accent1"/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2C0EA8B-EF64-0432-2FB0-872635D2E4F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487788"/>
            <a:ext cx="5156200" cy="5036837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BECCF2-24E5-51A8-E7D9-E053B81C2C0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13687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4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628775"/>
            <a:ext cx="10801349" cy="3379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783FE90B-8144-4EE7-83DD-1BF890852B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chemeClr val="accent1">
              <a:lumMod val="50000"/>
            </a:schemeClr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E07709-F5D6-04F5-13BA-175ED852645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8011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5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1B6BF6A4-FC91-4167-8F07-41431B226865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D4156-B9EE-48B3-B002-FF1BD1B4E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33375"/>
            <a:ext cx="10054800" cy="9864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605818-BCB5-4851-918D-4380EE7BB9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BAA6193-522B-4DE7-B07C-2474178A85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35C822F-CC3C-4AC6-8713-E8BC4920D33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01463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8A8ACBD-7378-4E9B-B8F5-8AA7E85F464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354981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213B05B4-8F80-42F2-99E5-82EFE1078C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5326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>
              <a:defRPr sz="1600"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0DDDB17B-0986-46FF-939D-242CCFD35E6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54981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>
              <a:defRPr sz="1600"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D46DB007-86EC-4631-9973-7E69665C06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14637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>
              <a:defRPr sz="1600"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B1415D85-ECEE-44AA-B226-4998B44E25D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chemeClr val="accent1">
              <a:lumMod val="50000"/>
            </a:schemeClr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C2C85D4D-1A11-4D5D-986E-8754B4B26D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1"/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570C8F3-09F4-4F6C-BDF3-B1F82DC969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424654-2778-EA1B-0192-6D8875E1171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33953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6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4800" y="1628775"/>
            <a:ext cx="5400000" cy="489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91817E-6423-D72F-7A29-7C696C78EB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E12AEFA-037C-13A6-D9D9-349DFD23D7F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628625"/>
            <a:ext cx="5156200" cy="4896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</p:spTree>
    <p:extLst>
      <p:ext uri="{BB962C8B-B14F-4D97-AF65-F5344CB8AC3E}">
        <p14:creationId xmlns:p14="http://schemas.microsoft.com/office/powerpoint/2010/main" val="3770978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C0A16-5EF8-A09A-44BD-8D61988A2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6335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497619-AE28-E7AA-A407-181FA0550B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C2E8E5-302C-0551-7F1C-0A42E017A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5C5E1A-8FDB-D25B-FBC8-77D61A3CF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6574-56BD-23D2-AA1C-C1911B4EB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0C02607-F439-7248-0530-03DD2EC857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6057" y="6065408"/>
            <a:ext cx="635061" cy="524493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54199D37-223A-9597-741D-CEFE68A991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0221" y="6065408"/>
            <a:ext cx="695836" cy="58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1522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9C186D-B875-45B9-9C0A-1830A52B4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056093" cy="9852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sp>
        <p:nvSpPr>
          <p:cNvPr id="11" name="Tabellenplatzhalter 4">
            <a:extLst>
              <a:ext uri="{FF2B5EF4-FFF2-40B4-BE49-F238E27FC236}">
                <a16:creationId xmlns:a16="http://schemas.microsoft.com/office/drawing/2014/main" id="{E454AC21-5CA9-4DCD-9E64-33EE941B0352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95325" y="1628776"/>
            <a:ext cx="10801350" cy="48958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7AA41E4-A17D-03A8-9521-4B67C9D84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56423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blau Mu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graphicFrame>
        <p:nvGraphicFramePr>
          <p:cNvPr id="10" name="Tabellenplatzhalter 7">
            <a:extLst>
              <a:ext uri="{FF2B5EF4-FFF2-40B4-BE49-F238E27FC236}">
                <a16:creationId xmlns:a16="http://schemas.microsoft.com/office/drawing/2014/main" id="{1C20BEF9-F6A4-4E18-813E-7C7A4A89EFB4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36610939"/>
              </p:ext>
            </p:extLst>
          </p:nvPr>
        </p:nvGraphicFramePr>
        <p:xfrm>
          <a:off x="695325" y="1628775"/>
          <a:ext cx="10801350" cy="2941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60270">
                  <a:extLst>
                    <a:ext uri="{9D8B030D-6E8A-4147-A177-3AD203B41FA5}">
                      <a16:colId xmlns:a16="http://schemas.microsoft.com/office/drawing/2014/main" val="3414773314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43605508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3205677931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51638767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1794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0165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140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801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492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470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931053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DFA15C25-778F-45D2-A70E-06F46D1BF03A}"/>
              </a:ext>
            </a:extLst>
          </p:cNvPr>
          <p:cNvSpPr txBox="1"/>
          <p:nvPr userDrawn="1"/>
        </p:nvSpPr>
        <p:spPr>
          <a:xfrm>
            <a:off x="695325" y="333375"/>
            <a:ext cx="10056092" cy="98528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</a:pPr>
            <a:r>
              <a:rPr lang="de-DE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ertabel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9CAA27B-59B5-D915-6398-75A94668C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76589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43B56E86-EFEB-4205-AA4A-9F3E82413F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5CF0C306-39D7-4EAE-89DF-69763743BA67}"/>
              </a:ext>
            </a:extLst>
          </p:cNvPr>
          <p:cNvSpPr/>
          <p:nvPr userDrawn="1"/>
        </p:nvSpPr>
        <p:spPr>
          <a:xfrm>
            <a:off x="0" y="0"/>
            <a:ext cx="695325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E5C513F-BDE5-4EEA-A208-17CFB8B9C3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6" y="3803209"/>
            <a:ext cx="9697665" cy="1141438"/>
          </a:xfrm>
          <a:solidFill>
            <a:schemeClr val="accent4">
              <a:lumMod val="50000"/>
              <a:alpha val="80000"/>
            </a:schemeClr>
          </a:solidFill>
        </p:spPr>
        <p:txBody>
          <a:bodyPr lIns="288000" tIns="144000" rIns="432000" bIns="144000" anchor="ctr">
            <a:normAutofit/>
          </a:bodyPr>
          <a:lstStyle>
            <a:lvl1pPr marL="717550" indent="0" algn="l">
              <a:lnSpc>
                <a:spcPct val="100000"/>
              </a:lnSpc>
              <a:spcBef>
                <a:spcPts val="100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2A8061A-9228-4DB0-8D9D-1B65E6A7D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333374"/>
            <a:ext cx="9541821" cy="3205985"/>
          </a:xfrm>
        </p:spPr>
        <p:txBody>
          <a:bodyPr lIns="216000" tIns="0" rIns="0" bIns="108000" anchor="b">
            <a:noAutofit/>
          </a:bodyPr>
          <a:lstStyle>
            <a:lvl1pPr>
              <a:defRPr sz="4800" b="1" cap="all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4066C5-F371-4079-BEC5-D83B78D0CF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991" y="5268397"/>
            <a:ext cx="1532709" cy="1265853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C05F074-4978-BB63-F797-D5FCF9961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5600" y="6544800"/>
            <a:ext cx="4114800" cy="257774"/>
          </a:xfrm>
        </p:spPr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09CECA-60EA-35F9-5F27-CF64A7C897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4739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titel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AF35D6C1-0699-3B81-DD6A-0016F7A8D7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0"/>
            <a:ext cx="11904662" cy="6858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CAB873-861B-47E3-BAE9-07181DA521FB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E04937E-4444-4817-AF16-D7E7EA0FEA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A0C9CC46-BAE5-4171-9813-A78515AF7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999" y="5101588"/>
            <a:ext cx="10693822" cy="1141438"/>
          </a:xfrm>
          <a:solidFill>
            <a:schemeClr val="accent4">
              <a:lumMod val="50000"/>
              <a:alpha val="80000"/>
            </a:schemeClr>
          </a:solidFill>
        </p:spPr>
        <p:txBody>
          <a:bodyPr lIns="396000" tIns="0" rIns="72000" bIns="0" anchor="ctr">
            <a:normAutofit/>
          </a:bodyPr>
          <a:lstStyle>
            <a:lvl1pPr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5FBA6571-CE1B-47EB-8C1E-D5A1391EAE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83600" y="302400"/>
            <a:ext cx="943200" cy="781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32C7237-52B1-CB5D-D118-2836DC556E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25054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1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8896D9-06D8-F605-C9DB-A9519477D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56288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095625"/>
            <a:ext cx="10801349" cy="4428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4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6263446-0FBB-7B9F-7376-C85F4725E6D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33668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095625"/>
            <a:ext cx="5400675" cy="18507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4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FBB571AC-F556-C50A-DAD2-4638503AA73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95325" y="4673892"/>
            <a:ext cx="5400675" cy="18507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23">
            <a:extLst>
              <a:ext uri="{FF2B5EF4-FFF2-40B4-BE49-F238E27FC236}">
                <a16:creationId xmlns:a16="http://schemas.microsoft.com/office/drawing/2014/main" id="{43C99AA0-30B9-CB68-5447-173C21DF9AC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5325" y="4066055"/>
            <a:ext cx="3482038" cy="439824"/>
          </a:xfrm>
          <a:solidFill>
            <a:schemeClr val="accent4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E5E99BBD-0EE1-272A-B9CD-BB38CD6536A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487788"/>
            <a:ext cx="5156200" cy="5036837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160246-4126-D54D-D8F2-4EA41312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38905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4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628775"/>
            <a:ext cx="10801349" cy="3379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B0949BCE-540C-4310-9432-ECBCD4F9E8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chemeClr val="accent4">
              <a:lumMod val="50000"/>
            </a:schemeClr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C8D3D5-3F24-32BA-B9E4-6239FD09AA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38756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5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1B6BF6A4-FC91-4167-8F07-41431B226865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D4156-B9EE-48B3-B002-FF1BD1B4E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33375"/>
            <a:ext cx="10054800" cy="9864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605818-BCB5-4851-918D-4380EE7BB9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BAA6193-522B-4DE7-B07C-2474178A85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35C822F-CC3C-4AC6-8713-E8BC4920D33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01463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8A8ACBD-7378-4E9B-B8F5-8AA7E85F464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354981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213B05B4-8F80-42F2-99E5-82EFE1078C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5326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0DDDB17B-0986-46FF-939D-242CCFD35E6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54981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D46DB007-86EC-4631-9973-7E69665C06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14637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C2C85D4D-1A11-4D5D-986E-8754B4B26D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4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570C8F3-09F4-4F6C-BDF3-B1F82DC969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5" name="Textplatzhalter 20">
            <a:extLst>
              <a:ext uri="{FF2B5EF4-FFF2-40B4-BE49-F238E27FC236}">
                <a16:creationId xmlns:a16="http://schemas.microsoft.com/office/drawing/2014/main" id="{A1BCFDDC-E704-4456-842B-CA12D08661D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chemeClr val="accent4">
              <a:lumMod val="50000"/>
            </a:schemeClr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38C3D2-DF70-153A-B8DF-4CECDC0728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63644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6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8896D9-06D8-F605-C9DB-A9519477D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6FFF96C-003A-2C95-0C20-6A5ECF67AE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4800" y="1628775"/>
            <a:ext cx="5400000" cy="489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82C0F5C3-8222-0817-ECCA-D675DF1CE7E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628625"/>
            <a:ext cx="5156200" cy="4896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</p:spTree>
    <p:extLst>
      <p:ext uri="{BB962C8B-B14F-4D97-AF65-F5344CB8AC3E}">
        <p14:creationId xmlns:p14="http://schemas.microsoft.com/office/powerpoint/2010/main" val="1695418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B21A3-6227-6CAA-7D9C-3F30AD494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BAC84C-2BC5-C0E5-BDAC-C19F43CF62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1470B-349B-398E-26AE-493B8EBBF4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F40BE9-F1B2-CFC7-3203-8E56086EF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8568F-C45C-24BB-D363-EEEF64FEE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0440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9C186D-B875-45B9-9C0A-1830A52B4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sp>
        <p:nvSpPr>
          <p:cNvPr id="11" name="Tabellenplatzhalter 4">
            <a:extLst>
              <a:ext uri="{FF2B5EF4-FFF2-40B4-BE49-F238E27FC236}">
                <a16:creationId xmlns:a16="http://schemas.microsoft.com/office/drawing/2014/main" id="{57BDB932-A261-4963-8CCA-D819AAB058C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95325" y="1628776"/>
            <a:ext cx="10801350" cy="48958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51EFB8F-681F-B958-6016-DE1F84F28F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44353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grün Mu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graphicFrame>
        <p:nvGraphicFramePr>
          <p:cNvPr id="10" name="Tabellenplatzhalter 7">
            <a:extLst>
              <a:ext uri="{FF2B5EF4-FFF2-40B4-BE49-F238E27FC236}">
                <a16:creationId xmlns:a16="http://schemas.microsoft.com/office/drawing/2014/main" id="{0D3ABB45-EB62-4087-B3EF-39BEE25E7081}"/>
              </a:ext>
            </a:extLst>
          </p:cNvPr>
          <p:cNvGraphicFramePr>
            <a:graphicFrameLocks/>
          </p:cNvGraphicFramePr>
          <p:nvPr userDrawn="1"/>
        </p:nvGraphicFramePr>
        <p:xfrm>
          <a:off x="695325" y="1628775"/>
          <a:ext cx="10801350" cy="2941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60270">
                  <a:extLst>
                    <a:ext uri="{9D8B030D-6E8A-4147-A177-3AD203B41FA5}">
                      <a16:colId xmlns:a16="http://schemas.microsoft.com/office/drawing/2014/main" val="3414773314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43605508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3205677931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51638767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1794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0165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140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801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492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470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931053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3D336417-AA09-48C9-BDF2-558668A9C82D}"/>
              </a:ext>
            </a:extLst>
          </p:cNvPr>
          <p:cNvSpPr txBox="1"/>
          <p:nvPr userDrawn="1"/>
        </p:nvSpPr>
        <p:spPr>
          <a:xfrm>
            <a:off x="695325" y="333375"/>
            <a:ext cx="10056092" cy="98528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</a:pPr>
            <a:r>
              <a:rPr lang="de-DE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ertabel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407347F-35E4-52BE-8323-099180448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83703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A1DD6DF-B176-485D-B01F-0D026F51E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5CF0C306-39D7-4EAE-89DF-69763743BA67}"/>
              </a:ext>
            </a:extLst>
          </p:cNvPr>
          <p:cNvSpPr/>
          <p:nvPr userDrawn="1"/>
        </p:nvSpPr>
        <p:spPr>
          <a:xfrm>
            <a:off x="0" y="0"/>
            <a:ext cx="69532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E5C513F-BDE5-4EEA-A208-17CFB8B9C3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6" y="3803208"/>
            <a:ext cx="9697665" cy="1141439"/>
          </a:xfrm>
          <a:solidFill>
            <a:srgbClr val="BE9600">
              <a:alpha val="80000"/>
            </a:srgbClr>
          </a:solidFill>
        </p:spPr>
        <p:txBody>
          <a:bodyPr lIns="288000" tIns="144000" rIns="432000" bIns="144000" anchor="ctr">
            <a:normAutofit/>
          </a:bodyPr>
          <a:lstStyle>
            <a:lvl1pPr marL="71755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2A8061A-9228-4DB0-8D9D-1B65E6A7D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333374"/>
            <a:ext cx="9541821" cy="3205985"/>
          </a:xfrm>
        </p:spPr>
        <p:txBody>
          <a:bodyPr lIns="216000" tIns="0" rIns="0" bIns="108000" anchor="b">
            <a:noAutofit/>
          </a:bodyPr>
          <a:lstStyle>
            <a:lvl1pPr>
              <a:defRPr sz="4800" b="1" cap="all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79A18D-BDEC-4A1A-B4E8-0BBF0FB0AB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991" y="5268397"/>
            <a:ext cx="1532709" cy="1265853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338560D-8EC4-B53A-7006-5B5A972D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5600" y="6544945"/>
            <a:ext cx="4114800" cy="257774"/>
          </a:xfrm>
        </p:spPr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602EDA2-8AA2-0466-B051-008CD7764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15001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titel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>
            <a:extLst>
              <a:ext uri="{FF2B5EF4-FFF2-40B4-BE49-F238E27FC236}">
                <a16:creationId xmlns:a16="http://schemas.microsoft.com/office/drawing/2014/main" id="{A29A4717-2733-B1CC-C548-EE7EB957DA2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0"/>
            <a:ext cx="11904662" cy="6858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CAB873-861B-47E3-BAE9-07181DA521FB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E04937E-4444-4817-AF16-D7E7EA0FEA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A0C9CC46-BAE5-4171-9813-A78515AF7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999" y="5101588"/>
            <a:ext cx="10693822" cy="1141438"/>
          </a:xfrm>
          <a:solidFill>
            <a:srgbClr val="BE9600">
              <a:alpha val="80000"/>
            </a:srgbClr>
          </a:solidFill>
        </p:spPr>
        <p:txBody>
          <a:bodyPr lIns="396000" tIns="0" rIns="72000" bIns="0" anchor="ctr">
            <a:normAutofit/>
          </a:bodyPr>
          <a:lstStyle>
            <a:lvl1pPr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E24BD797-BDE4-4F8B-BD63-88445F3046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83600" y="302400"/>
            <a:ext cx="943200" cy="781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C9E1831-352F-2D39-ACE5-21BCE2855BB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00186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1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EBC151-FC60-E584-26BE-7134EAB82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61389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095625"/>
            <a:ext cx="10801349" cy="4428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2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107BD53-6A79-8877-2BE1-B0C49A39BD9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44652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4" y="2095625"/>
            <a:ext cx="5400675" cy="1850733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2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68187CB7-2C33-1C03-52A8-8996E6753E4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95325" y="4673892"/>
            <a:ext cx="5400675" cy="18507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23">
            <a:extLst>
              <a:ext uri="{FF2B5EF4-FFF2-40B4-BE49-F238E27FC236}">
                <a16:creationId xmlns:a16="http://schemas.microsoft.com/office/drawing/2014/main" id="{756228A2-CAF9-B1A1-1C97-DA91AB6BED6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5325" y="4066055"/>
            <a:ext cx="3482038" cy="439824"/>
          </a:xfrm>
          <a:solidFill>
            <a:schemeClr val="accent2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CA1CEBC5-E31D-F865-99F9-F5B2C3A4B1C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487788"/>
            <a:ext cx="5156200" cy="5036837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1A145E-844F-C173-0E1A-4D5807A9AB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98390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4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628775"/>
            <a:ext cx="10801349" cy="3379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59E7F815-FED3-4D8F-9D9B-35CCAF3B26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rgbClr val="BE9600"/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2093030-8FCB-CEE5-FAC4-DF786DEBF90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48548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5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1B6BF6A4-FC91-4167-8F07-41431B226865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D4156-B9EE-48B3-B002-FF1BD1B4E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33375"/>
            <a:ext cx="10054800" cy="9864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605818-BCB5-4851-918D-4380EE7BB9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BAA6193-522B-4DE7-B07C-2474178A85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35C822F-CC3C-4AC6-8713-E8BC4920D33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01463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8A8ACBD-7378-4E9B-B8F5-8AA7E85F464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354981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213B05B4-8F80-42F2-99E5-82EFE1078C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5326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0DDDB17B-0986-46FF-939D-242CCFD35E6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54981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D46DB007-86EC-4631-9973-7E69665C06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14637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C2C85D4D-1A11-4D5D-986E-8754B4B26D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2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570C8F3-09F4-4F6C-BDF3-B1F82DC969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5" name="Textplatzhalter 20">
            <a:extLst>
              <a:ext uri="{FF2B5EF4-FFF2-40B4-BE49-F238E27FC236}">
                <a16:creationId xmlns:a16="http://schemas.microsoft.com/office/drawing/2014/main" id="{9D0FAF78-2A5F-4E8E-B1EE-D7C4255495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rgbClr val="BE9600"/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09EDA4-178A-19BE-891D-96E3D2B19D2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78388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6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EBC151-FC60-E584-26BE-7134EAB82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705F4847-2276-AAFB-108E-DBA5E7360C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4800" y="1628775"/>
            <a:ext cx="5400000" cy="489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7BE329DB-A001-C66F-6040-0E345285523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628625"/>
            <a:ext cx="5156200" cy="4896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</p:spTree>
    <p:extLst>
      <p:ext uri="{BB962C8B-B14F-4D97-AF65-F5344CB8AC3E}">
        <p14:creationId xmlns:p14="http://schemas.microsoft.com/office/powerpoint/2010/main" val="41992914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A45D9-522E-5B57-C999-2CF5ABB84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B2E6B2-513A-1F52-D9E5-7DF4B64A2C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2250C7-3EFE-DA6C-42B1-760556CCF7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C1ACB3-4891-5CE0-CA7E-570D973E7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7B760E-C1E6-DDA7-1066-31D615D82B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7B1F62-469C-46EB-3A69-71F5C0150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6366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gel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9C186D-B875-45B9-9C0A-1830A52B4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A8D24D7-34CD-4ED1-8141-89BC9C1FC26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95325" y="1628776"/>
            <a:ext cx="10801350" cy="48958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0E2FA4-B336-450E-D6C0-FA99C883B4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52646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gelb Mu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graphicFrame>
        <p:nvGraphicFramePr>
          <p:cNvPr id="7" name="Tabellenplatzhalter 7">
            <a:extLst>
              <a:ext uri="{FF2B5EF4-FFF2-40B4-BE49-F238E27FC236}">
                <a16:creationId xmlns:a16="http://schemas.microsoft.com/office/drawing/2014/main" id="{215C28A5-80CD-4F42-9C77-C690E11449E6}"/>
              </a:ext>
            </a:extLst>
          </p:cNvPr>
          <p:cNvGraphicFramePr>
            <a:graphicFrameLocks/>
          </p:cNvGraphicFramePr>
          <p:nvPr userDrawn="1"/>
        </p:nvGraphicFramePr>
        <p:xfrm>
          <a:off x="695325" y="1628775"/>
          <a:ext cx="10801350" cy="2941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60270">
                  <a:extLst>
                    <a:ext uri="{9D8B030D-6E8A-4147-A177-3AD203B41FA5}">
                      <a16:colId xmlns:a16="http://schemas.microsoft.com/office/drawing/2014/main" val="3414773314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43605508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3205677931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51638767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1794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0165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140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801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492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470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93105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598141AE-B519-4BF8-86A2-54973B0ADDE5}"/>
              </a:ext>
            </a:extLst>
          </p:cNvPr>
          <p:cNvSpPr txBox="1"/>
          <p:nvPr userDrawn="1"/>
        </p:nvSpPr>
        <p:spPr>
          <a:xfrm>
            <a:off x="695325" y="333375"/>
            <a:ext cx="10056092" cy="98528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</a:pPr>
            <a:r>
              <a:rPr lang="de-DE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ertabel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75B4983-3911-6B34-D420-98DD812B0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226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2">
            <a:extLst>
              <a:ext uri="{FF2B5EF4-FFF2-40B4-BE49-F238E27FC236}">
                <a16:creationId xmlns:a16="http://schemas.microsoft.com/office/drawing/2014/main" id="{C2226DF2-778A-4612-9F78-6765D18406C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12192001" cy="6858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87F97911-DA70-4C70-822A-1814FBD79C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83600" y="302400"/>
            <a:ext cx="943200" cy="781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37EBD16-097C-4A05-9018-8E3005584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5342399"/>
            <a:ext cx="288000" cy="1440000"/>
          </a:xfrm>
          <a:prstGeom prst="rect">
            <a:avLst/>
          </a:prstGeom>
        </p:spPr>
        <p:txBody>
          <a:bodyPr vert="horz" wrap="none" lIns="36000" tIns="90000" rIns="36000" bIns="90000" rtlCol="0" anchor="b">
            <a:normAutofit/>
          </a:bodyPr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0ADABB7-F9A6-4A4D-9415-296AC5E68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D7813AC-780E-0FEE-8DD2-961C8464CAC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8717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524784-0D26-00E5-2DA5-1F3B8D657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FB9ADA-7ACF-9FAC-CD7C-6D5A80EA2D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F377EE-B81A-D0B7-91A0-B1730F81AC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E8B198B-18F3-A33F-DB04-F69965C2D7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8FC257-2B66-7FCB-7DDA-09E5187101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DB23151-1928-FF07-DA53-F9D4D73B9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92C646-997D-8C36-4955-32FE357E2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617503-EB1B-C0F8-E280-F8F046037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9290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B0948-4D68-129B-0880-FFEFC9ADA2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60055B-B784-9E8C-5A74-56F9FFBC7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B174A3-4C6F-4C9E-7391-6BFB53C87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4FB187-081C-460E-9D3B-4BB67705F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0901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66B440-A223-2B7A-2320-0ED3D0C5A8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85301F-129B-F7B0-C8F4-B4CAE73B8A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688776-D843-C4C6-32AB-1AA902276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1521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1168E-613B-D6D1-C41D-5839FD2F5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3E5B4A-9F78-1E00-8E4F-26858218E7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754897-C4DC-6DEE-F653-1479C678B5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5FB11D-97E5-AF08-E3F1-56D356E762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4A9AB2-B22B-B40D-3210-FEECCD4D01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DDF140-3CFE-EA7A-6C2B-5A825362B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1203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37BB1-40F8-D834-9C40-384A212FE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0F0B04-8F72-6B2A-633A-1B57BA750A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539873-DB31-96A5-FFA4-F712134FC2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536AC7-A967-8DC0-BBD2-18E87F3E64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0A4D1D-C427-54AC-A5DD-BC32B9069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481E4C-6051-397C-D733-70EC5AFBD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5380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theme" Target="../theme/theme2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image" Target="../media/image7.emf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0AD17D1-D116-4564-29DE-8FEA14F0D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066644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0AD17D1-D116-4564-29DE-8FEA14F0D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5EF4857-A433-0064-52AA-AFE7F14DEC72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C4FDCCD-3C71-3C96-B18F-088E78FA6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80AAD-99A3-055E-6895-E4EE23E136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33D582-A81F-A750-1FE9-E562A80912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79F326-4915-42C4-A229-B4B2F13F3A27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F4256D-A2D1-0126-EC74-970FDAC834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36F042-ABC7-C02B-ED79-1D483E35F5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48D378-20CD-42FD-BB97-0CF2CDEF3F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293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96BF095-E463-96C4-925F-F69ECF5E2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6538542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7772400" imgH="10058400" progId="TCLayout.ActiveDocument.1">
                  <p:embed/>
                </p:oleObj>
              </mc:Choice>
              <mc:Fallback>
                <p:oleObj name="think-cell Folie" r:id="rId34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96BF095-E463-96C4-925F-F69ECF5E21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A21C0A-576F-4448-A405-945F7FEA5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056093" cy="9852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CDA8A30-87AB-49C6-AE8C-F7B24CECFA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628775"/>
            <a:ext cx="10801349" cy="48958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A096809-C3E5-439C-AF0A-E75CD81D72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5342399"/>
            <a:ext cx="288000" cy="1440000"/>
          </a:xfrm>
          <a:prstGeom prst="rect">
            <a:avLst/>
          </a:prstGeom>
        </p:spPr>
        <p:txBody>
          <a:bodyPr vert="horz" wrap="none" lIns="36000" tIns="90000" rIns="36000" bIns="90000" rtlCol="0" anchor="b">
            <a:normAutofit/>
          </a:bodyPr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0ADABB7-F9A6-4A4D-9415-296AC5E68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8822AB-459F-739F-855B-F69C7435C1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325" y="6544945"/>
            <a:ext cx="4114800" cy="2577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NASA-DLR ATM-X • PAAV-DLR Project Roadmap – November 2022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EB9019D-7021-061F-2A9A-FBE17E1F4BAD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9486" y="6149340"/>
            <a:ext cx="635061" cy="524493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42BC5853-2925-541F-E916-4FAF1B0E6A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3650" y="6149340"/>
            <a:ext cx="695836" cy="58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8537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210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orient="horz" pos="4110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6" Type="http://schemas.openxmlformats.org/officeDocument/2006/relationships/image" Target="../media/image18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7.xml"/><Relationship Id="rId6" Type="http://schemas.openxmlformats.org/officeDocument/2006/relationships/image" Target="../media/image2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8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7.bin"/><Relationship Id="rId4" Type="http://schemas.microsoft.com/office/2018/10/relationships/comments" Target="../comments/modernComment_1FA_B0FE63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1.bin"/><Relationship Id="rId4" Type="http://schemas.microsoft.com/office/2018/10/relationships/comments" Target="../comments/modernComment_1FF_4A6C7B3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3.x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.xml"/><Relationship Id="rId6" Type="http://schemas.openxmlformats.org/officeDocument/2006/relationships/image" Target="../media/image23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6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8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9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notesSlide" Target="../notesSlides/notesSlide26.xml"/><Relationship Id="rId18" Type="http://schemas.openxmlformats.org/officeDocument/2006/relationships/image" Target="../media/image28.png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slideLayout" Target="../slideLayouts/slideLayout14.xml"/><Relationship Id="rId17" Type="http://schemas.openxmlformats.org/officeDocument/2006/relationships/image" Target="../media/image27.png"/><Relationship Id="rId2" Type="http://schemas.openxmlformats.org/officeDocument/2006/relationships/tags" Target="../tags/tag32.xml"/><Relationship Id="rId16" Type="http://schemas.openxmlformats.org/officeDocument/2006/relationships/image" Target="../media/image26.png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image" Target="../media/image15.emf"/><Relationship Id="rId10" Type="http://schemas.openxmlformats.org/officeDocument/2006/relationships/tags" Target="../tags/tag40.xml"/><Relationship Id="rId19" Type="http://schemas.openxmlformats.org/officeDocument/2006/relationships/image" Target="../media/image29.png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30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2.xml"/><Relationship Id="rId6" Type="http://schemas.openxmlformats.org/officeDocument/2006/relationships/image" Target="../media/image3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3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5.xml"/><Relationship Id="rId6" Type="http://schemas.openxmlformats.org/officeDocument/2006/relationships/image" Target="../media/image3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4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6.xml"/><Relationship Id="rId6" Type="http://schemas.openxmlformats.org/officeDocument/2006/relationships/image" Target="../media/image3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5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6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8.xml"/><Relationship Id="rId6" Type="http://schemas.openxmlformats.org/officeDocument/2006/relationships/image" Target="../media/image33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7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8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0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9.bin"/><Relationship Id="rId4" Type="http://schemas.microsoft.com/office/2018/10/relationships/comments" Target="../comments/modernComment_202_215E2D5E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0.bin"/><Relationship Id="rId4" Type="http://schemas.microsoft.com/office/2018/10/relationships/comments" Target="../comments/modernComment_1F6_B8F6D30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91E01B1-7E42-7475-40BF-0E05F1F9B1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522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91E01B1-7E42-7475-40BF-0E05F1F9B1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FF114A-61C7-282C-4458-141FCE7048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013" y="2084388"/>
            <a:ext cx="10862630" cy="2387600"/>
          </a:xfrm>
        </p:spPr>
        <p:txBody>
          <a:bodyPr vert="horz">
            <a:no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Comparative Analysis of Airspace System Accessibility for Uncrewed Aircraft Systems for Regional Oper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EB3A1A-D8F3-E9FB-B728-A2E319EB1D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55371" y="4564063"/>
            <a:ext cx="8178802" cy="1655762"/>
          </a:xfrm>
        </p:spPr>
        <p:txBody>
          <a:bodyPr>
            <a:no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 Felix Sievers 		DLR Institute of Flight Guidance</a:t>
            </a:r>
          </a:p>
          <a:p>
            <a:pPr algn="l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rdan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kakeeny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hD 	NASA Ames Research Center</a:t>
            </a:r>
          </a:p>
          <a:p>
            <a:pPr algn="l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dezhda Dimitrova	NASA Ames Research Center</a:t>
            </a:r>
          </a:p>
          <a:p>
            <a:pPr algn="l"/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sni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dris, PhD 		NASA Ames Research Center</a:t>
            </a:r>
          </a:p>
          <a:p>
            <a:pPr algn="l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1692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Introduction and Background</a:t>
            </a:r>
            <a:endParaRPr lang="en-US" dirty="0">
              <a:solidFill>
                <a:schemeClr val="accent6"/>
              </a:solidFill>
            </a:endParaRP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</a:rPr>
              <a:t>Scope and Research Ques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latin typeface="Arial" pitchFamily="34" charset="0"/>
                <a:cs typeface="Arial" pitchFamily="34" charset="0"/>
              </a:rPr>
              <a:t>Accessibility Characteristics of Regional Cargo UAS Opera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</a:rPr>
              <a:t>Accessibility Potential of Regional Cargo UAS Opera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onclusions and </a:t>
            </a:r>
            <a:r>
              <a:rPr lang="en-US" dirty="0">
                <a:solidFill>
                  <a:schemeClr val="accent6"/>
                </a:solidFill>
              </a:rPr>
              <a:t>F</a:t>
            </a: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uture Work</a:t>
            </a:r>
          </a:p>
          <a:p>
            <a:endParaRPr lang="en-US" sz="28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5025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DAB663C3-4A51-7638-CC59-BCCFF196DA3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7385"/>
          <a:stretch/>
        </p:blipFill>
        <p:spPr>
          <a:xfrm>
            <a:off x="1065246" y="1720714"/>
            <a:ext cx="3093185" cy="37868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1158007" cy="985286"/>
          </a:xfrm>
        </p:spPr>
        <p:txBody>
          <a:bodyPr vert="horz">
            <a:noAutofit/>
          </a:bodyPr>
          <a:lstStyle/>
          <a:p>
            <a:pPr>
              <a:spcBef>
                <a:spcPts val="1600"/>
              </a:spcBef>
            </a:pPr>
            <a:r>
              <a:rPr lang="en-US" sz="3200" dirty="0">
                <a:solidFill>
                  <a:srgbClr val="00658B"/>
                </a:solidFill>
              </a:rPr>
              <a:t>Accessibility Characteristics of Regional Cargo UAS</a:t>
            </a:r>
            <a:br>
              <a:rPr lang="en-US" sz="3200" dirty="0">
                <a:solidFill>
                  <a:srgbClr val="00658B"/>
                </a:solidFill>
              </a:rPr>
            </a:br>
            <a:r>
              <a:rPr lang="en-US" sz="2400" dirty="0"/>
              <a:t>Country/State Comparison</a:t>
            </a:r>
            <a:endParaRPr lang="en-US" sz="2800" dirty="0">
              <a:solidFill>
                <a:srgbClr val="0065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63B802-3CB0-A732-1441-C8AF059A7131}"/>
              </a:ext>
            </a:extLst>
          </p:cNvPr>
          <p:cNvSpPr txBox="1"/>
          <p:nvPr/>
        </p:nvSpPr>
        <p:spPr>
          <a:xfrm rot="16200000">
            <a:off x="-964555" y="3429459"/>
            <a:ext cx="378682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mber of Commercial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irpor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9A6BCE-6B5D-711F-6385-6D0526079D5B}"/>
              </a:ext>
            </a:extLst>
          </p:cNvPr>
          <p:cNvSpPr txBox="1"/>
          <p:nvPr/>
        </p:nvSpPr>
        <p:spPr>
          <a:xfrm>
            <a:off x="744191" y="5461957"/>
            <a:ext cx="34043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ropean country / US st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86CE97-AB4E-47AC-3565-4A8CEAF3563B}"/>
              </a:ext>
            </a:extLst>
          </p:cNvPr>
          <p:cNvSpPr/>
          <p:nvPr/>
        </p:nvSpPr>
        <p:spPr>
          <a:xfrm flipH="1">
            <a:off x="4110579" y="4958605"/>
            <a:ext cx="45720" cy="1646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32DD20F4-C143-36C0-1C9A-16799F5953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23688" y="2351802"/>
            <a:ext cx="3806913" cy="1583394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0658B"/>
                </a:solidFill>
              </a:rPr>
              <a:t>Germany and California </a:t>
            </a:r>
            <a:r>
              <a:rPr lang="en-US" sz="1800" dirty="0"/>
              <a:t>have a comparatively high number of </a:t>
            </a:r>
            <a:r>
              <a:rPr lang="en-US" sz="1800" b="1" dirty="0"/>
              <a:t>small airpor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0658B"/>
                </a:solidFill>
              </a:rPr>
              <a:t>California and Texas</a:t>
            </a:r>
            <a:r>
              <a:rPr lang="en-US" sz="1800" b="1" dirty="0"/>
              <a:t> have a high </a:t>
            </a:r>
            <a:r>
              <a:rPr lang="en-US" sz="1800" dirty="0"/>
              <a:t>number of </a:t>
            </a:r>
            <a:r>
              <a:rPr lang="en-US" sz="1800" b="1" dirty="0"/>
              <a:t>intra-state flights by regional aircraft</a:t>
            </a:r>
            <a:endParaRPr lang="en-US" sz="18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These three areas have a comparatively </a:t>
            </a:r>
            <a:r>
              <a:rPr lang="en-US" sz="1800" b="1" dirty="0">
                <a:solidFill>
                  <a:srgbClr val="00658B"/>
                </a:solidFill>
              </a:rPr>
              <a:t>high potential for the introduction of cargo UA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9F235D-4D27-D539-29FC-499CA4F8A1B4}"/>
              </a:ext>
            </a:extLst>
          </p:cNvPr>
          <p:cNvSpPr txBox="1"/>
          <p:nvPr/>
        </p:nvSpPr>
        <p:spPr>
          <a:xfrm>
            <a:off x="652589" y="6016989"/>
            <a:ext cx="6021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d on data available – European data are reported country-by-country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30C764A-55B1-F4F5-D3A6-93031FAE0D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63859" y="1856099"/>
            <a:ext cx="1296572" cy="1444752"/>
          </a:xfrm>
          <a:prstGeom prst="rect">
            <a:avLst/>
          </a:prstGeom>
          <a:ln w="76200">
            <a:noFill/>
          </a:ln>
        </p:spPr>
      </p:pic>
      <p:sp>
        <p:nvSpPr>
          <p:cNvPr id="23" name="Rectangle 11">
            <a:extLst>
              <a:ext uri="{FF2B5EF4-FFF2-40B4-BE49-F238E27FC236}">
                <a16:creationId xmlns:a16="http://schemas.microsoft.com/office/drawing/2014/main" id="{4B5CE177-1328-4727-CC8B-71508F28C0C3}"/>
              </a:ext>
            </a:extLst>
          </p:cNvPr>
          <p:cNvSpPr/>
          <p:nvPr/>
        </p:nvSpPr>
        <p:spPr>
          <a:xfrm>
            <a:off x="2125795" y="4475329"/>
            <a:ext cx="338917" cy="477180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11">
            <a:extLst>
              <a:ext uri="{FF2B5EF4-FFF2-40B4-BE49-F238E27FC236}">
                <a16:creationId xmlns:a16="http://schemas.microsoft.com/office/drawing/2014/main" id="{CD90D546-064C-E442-5571-1D02EAB647C0}"/>
              </a:ext>
            </a:extLst>
          </p:cNvPr>
          <p:cNvSpPr/>
          <p:nvPr/>
        </p:nvSpPr>
        <p:spPr>
          <a:xfrm>
            <a:off x="2490847" y="4582633"/>
            <a:ext cx="338917" cy="369876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11">
            <a:extLst>
              <a:ext uri="{FF2B5EF4-FFF2-40B4-BE49-F238E27FC236}">
                <a16:creationId xmlns:a16="http://schemas.microsoft.com/office/drawing/2014/main" id="{3E4C3539-9F39-CB55-4A81-4DE5D55FB545}"/>
              </a:ext>
            </a:extLst>
          </p:cNvPr>
          <p:cNvSpPr/>
          <p:nvPr/>
        </p:nvSpPr>
        <p:spPr>
          <a:xfrm>
            <a:off x="1760743" y="4109483"/>
            <a:ext cx="338917" cy="843025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F2A344-1612-59ED-473B-F1F3AB2894B7}"/>
              </a:ext>
            </a:extLst>
          </p:cNvPr>
          <p:cNvSpPr txBox="1"/>
          <p:nvPr/>
        </p:nvSpPr>
        <p:spPr>
          <a:xfrm>
            <a:off x="2682708" y="1856729"/>
            <a:ext cx="240331" cy="14441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endParaRPr lang="en-US" sz="1300" dirty="0">
              <a:solidFill>
                <a:srgbClr val="1D3354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DD6832D-B59D-3067-97C2-9C88310BDF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71859" y="2270051"/>
            <a:ext cx="1143000" cy="182561"/>
          </a:xfrm>
          <a:prstGeom prst="rect">
            <a:avLst/>
          </a:prstGeom>
        </p:spPr>
      </p:pic>
      <p:pic>
        <p:nvPicPr>
          <p:cNvPr id="12" name="Picture 14">
            <a:extLst>
              <a:ext uri="{FF2B5EF4-FFF2-40B4-BE49-F238E27FC236}">
                <a16:creationId xmlns:a16="http://schemas.microsoft.com/office/drawing/2014/main" id="{AC2E0FF9-622C-9DDD-96DC-CBB0D08AE8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75569" y="2910941"/>
            <a:ext cx="1110316" cy="177341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D7159AE4-455E-CEA9-D6C6-557982AC0496}"/>
              </a:ext>
            </a:extLst>
          </p:cNvPr>
          <p:cNvSpPr/>
          <p:nvPr/>
        </p:nvSpPr>
        <p:spPr>
          <a:xfrm>
            <a:off x="2307303" y="2900948"/>
            <a:ext cx="615736" cy="1825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FB504C2-01AA-0DA5-3FCE-2344AD560D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1500" y="2907252"/>
            <a:ext cx="240331" cy="162577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2AF17D2-739D-9F65-87FF-3676DC9452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220923"/>
              </p:ext>
            </p:extLst>
          </p:nvPr>
        </p:nvGraphicFramePr>
        <p:xfrm>
          <a:off x="4790165" y="1720712"/>
          <a:ext cx="3243407" cy="170828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131020">
                  <a:extLst>
                    <a:ext uri="{9D8B030D-6E8A-4147-A177-3AD203B41FA5}">
                      <a16:colId xmlns:a16="http://schemas.microsoft.com/office/drawing/2014/main" val="3865713262"/>
                    </a:ext>
                  </a:extLst>
                </a:gridCol>
                <a:gridCol w="1073945">
                  <a:extLst>
                    <a:ext uri="{9D8B030D-6E8A-4147-A177-3AD203B41FA5}">
                      <a16:colId xmlns:a16="http://schemas.microsoft.com/office/drawing/2014/main" val="3042239145"/>
                    </a:ext>
                  </a:extLst>
                </a:gridCol>
                <a:gridCol w="1038442">
                  <a:extLst>
                    <a:ext uri="{9D8B030D-6E8A-4147-A177-3AD203B41FA5}">
                      <a16:colId xmlns:a16="http://schemas.microsoft.com/office/drawing/2014/main" val="3633147583"/>
                    </a:ext>
                  </a:extLst>
                </a:gridCol>
              </a:tblGrid>
              <a:tr h="59788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Main Airport</a:t>
                      </a:r>
                      <a:endParaRPr lang="en-US" sz="1800" b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edium Airport</a:t>
                      </a:r>
                      <a:endParaRPr lang="en-US" sz="1400" b="1" i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Small Airport</a:t>
                      </a: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809256"/>
                  </a:ext>
                </a:extLst>
              </a:tr>
              <a:tr h="111040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ea typeface="MS Mincho" panose="02020609040205080304" pitchFamily="49" charset="-128"/>
                        </a:rPr>
                        <a:t>≥150,000 / year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a typeface="MS Mincho" panose="02020609040205080304" pitchFamily="49" charset="-128"/>
                        </a:rPr>
                        <a:t>&lt;</a:t>
                      </a:r>
                      <a:r>
                        <a:rPr lang="en-US" sz="1400" dirty="0">
                          <a:effectLst/>
                          <a:ea typeface="MS Mincho" panose="02020609040205080304" pitchFamily="49" charset="-128"/>
                        </a:rPr>
                        <a:t>150,000 and ≥15,000 / yea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/>
                        <a:t>&lt;15,000 / year 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82191"/>
                  </a:ext>
                </a:extLst>
              </a:tr>
            </a:tbl>
          </a:graphicData>
        </a:graphic>
      </p:graphicFrame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3DD2F17-5D4F-4EF1-DFE8-C5D1B4EC5B2E}"/>
              </a:ext>
            </a:extLst>
          </p:cNvPr>
          <p:cNvSpPr txBox="1">
            <a:spLocks/>
          </p:cNvSpPr>
          <p:nvPr/>
        </p:nvSpPr>
        <p:spPr>
          <a:xfrm>
            <a:off x="5144567" y="3429000"/>
            <a:ext cx="4102271" cy="7033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</a:rPr>
              <a:t>P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ssenge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uni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=1 passenger or 100 kg of carg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4C254F6-A6FF-AABA-6196-B96F4EEEEFE9}"/>
              </a:ext>
            </a:extLst>
          </p:cNvPr>
          <p:cNvSpPr txBox="1"/>
          <p:nvPr/>
        </p:nvSpPr>
        <p:spPr>
          <a:xfrm>
            <a:off x="10114961" y="221529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5462DA9-61BD-EDB5-27A7-3FD27C301785}"/>
              </a:ext>
            </a:extLst>
          </p:cNvPr>
          <p:cNvSpPr/>
          <p:nvPr/>
        </p:nvSpPr>
        <p:spPr>
          <a:xfrm flipH="1">
            <a:off x="4044684" y="5007646"/>
            <a:ext cx="45719" cy="1646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0CA3E56-BFB5-127D-0BE0-9A42B5477EF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4131" t="27142" r="55759" b="64873"/>
          <a:stretch/>
        </p:blipFill>
        <p:spPr>
          <a:xfrm>
            <a:off x="3976656" y="4632086"/>
            <a:ext cx="181776" cy="30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871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build="p"/>
      <p:bldP spid="23" grpId="0" animBg="1"/>
      <p:bldP spid="24" grpId="0" animBg="1"/>
      <p:bldP spid="25" grpId="0" animBg="1"/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4298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Characteristics of Regional Cargo UAS</a:t>
            </a:r>
            <a:br>
              <a:rPr lang="en-US" sz="2400" dirty="0"/>
            </a:br>
            <a:r>
              <a:rPr lang="en-US" sz="2400" dirty="0"/>
              <a:t>Regional Aircraft Type Comparison – Country/St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7B479D7D-6754-14C8-8ED8-4E4D68A798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6489144"/>
              </p:ext>
            </p:extLst>
          </p:nvPr>
        </p:nvGraphicFramePr>
        <p:xfrm>
          <a:off x="819380" y="1554648"/>
          <a:ext cx="10298200" cy="16213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8096">
                  <a:extLst>
                    <a:ext uri="{9D8B030D-6E8A-4147-A177-3AD203B41FA5}">
                      <a16:colId xmlns:a16="http://schemas.microsoft.com/office/drawing/2014/main" val="2925421031"/>
                    </a:ext>
                  </a:extLst>
                </a:gridCol>
                <a:gridCol w="1324383">
                  <a:extLst>
                    <a:ext uri="{9D8B030D-6E8A-4147-A177-3AD203B41FA5}">
                      <a16:colId xmlns:a16="http://schemas.microsoft.com/office/drawing/2014/main" val="401106365"/>
                    </a:ext>
                  </a:extLst>
                </a:gridCol>
                <a:gridCol w="1965768">
                  <a:extLst>
                    <a:ext uri="{9D8B030D-6E8A-4147-A177-3AD203B41FA5}">
                      <a16:colId xmlns:a16="http://schemas.microsoft.com/office/drawing/2014/main" val="3773957118"/>
                    </a:ext>
                  </a:extLst>
                </a:gridCol>
                <a:gridCol w="1975451">
                  <a:extLst>
                    <a:ext uri="{9D8B030D-6E8A-4147-A177-3AD203B41FA5}">
                      <a16:colId xmlns:a16="http://schemas.microsoft.com/office/drawing/2014/main" val="1482158957"/>
                    </a:ext>
                  </a:extLst>
                </a:gridCol>
                <a:gridCol w="2004502">
                  <a:extLst>
                    <a:ext uri="{9D8B030D-6E8A-4147-A177-3AD203B41FA5}">
                      <a16:colId xmlns:a16="http://schemas.microsoft.com/office/drawing/2014/main" val="1750670572"/>
                    </a:ext>
                  </a:extLst>
                </a:gridCol>
              </a:tblGrid>
              <a:tr h="76792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Cargo-only flight movements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by regional aircraft</a:t>
                      </a:r>
                      <a:endParaRPr lang="de-DE" sz="1400" b="1" i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Germany</a:t>
                      </a:r>
                      <a:endParaRPr lang="de-DE" sz="1400" b="1" i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Texas</a:t>
                      </a:r>
                      <a:endParaRPr lang="de-DE" sz="1400" b="1" i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California</a:t>
                      </a:r>
                      <a:endParaRPr lang="de-DE" sz="1400" b="1" i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475609"/>
                  </a:ext>
                </a:extLst>
              </a:tr>
              <a:tr h="107950">
                <a:tc rowSpan="2"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Total cargo-only flights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</a:rPr>
                        <a:t>turboprop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9,225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11,544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13,546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09764917"/>
                  </a:ext>
                </a:extLst>
              </a:tr>
              <a:tr h="14287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jet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55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229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8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975002609"/>
                  </a:ext>
                </a:extLst>
              </a:tr>
              <a:tr h="107950">
                <a:tc rowSpan="2"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Intra-state cargo-only flights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</a:rPr>
                        <a:t>turboprop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112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7,058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13,540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00316726"/>
                  </a:ext>
                </a:extLst>
              </a:tr>
              <a:tr h="7048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jet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2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25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0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28898191"/>
                  </a:ext>
                </a:extLst>
              </a:tr>
            </a:tbl>
          </a:graphicData>
        </a:graphic>
      </p:graphicFrame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81C6DE0-F0BA-A6B3-3FE7-047176BD0B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9379" y="3465762"/>
            <a:ext cx="11372621" cy="409278"/>
          </a:xfrm>
        </p:spPr>
        <p:txBody>
          <a:bodyPr>
            <a:noAutofit/>
          </a:bodyPr>
          <a:lstStyle/>
          <a:p>
            <a:r>
              <a:rPr lang="en-US" sz="1800" dirty="0"/>
              <a:t>The areas have a </a:t>
            </a:r>
            <a:r>
              <a:rPr lang="en-US" sz="1800" b="1" dirty="0"/>
              <a:t>high total number of cargo-only flights </a:t>
            </a:r>
            <a:r>
              <a:rPr lang="en-US" sz="1800" dirty="0"/>
              <a:t>by regional </a:t>
            </a:r>
            <a:r>
              <a:rPr lang="en-US" sz="1800" b="1" dirty="0"/>
              <a:t>turboprop</a:t>
            </a:r>
            <a:r>
              <a:rPr lang="en-US" sz="1800" dirty="0"/>
              <a:t> aircraft</a:t>
            </a:r>
          </a:p>
        </p:txBody>
      </p:sp>
      <p:sp>
        <p:nvSpPr>
          <p:cNvPr id="18" name="Textfeld 6">
            <a:extLst>
              <a:ext uri="{FF2B5EF4-FFF2-40B4-BE49-F238E27FC236}">
                <a16:creationId xmlns:a16="http://schemas.microsoft.com/office/drawing/2014/main" id="{A68A9E47-06D7-F7BC-AC04-0ADCB37EDC7E}"/>
              </a:ext>
            </a:extLst>
          </p:cNvPr>
          <p:cNvSpPr txBox="1"/>
          <p:nvPr/>
        </p:nvSpPr>
        <p:spPr>
          <a:xfrm>
            <a:off x="896871" y="5732394"/>
            <a:ext cx="8916812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100" b="1" dirty="0">
                <a:solidFill>
                  <a:srgbClr val="000000"/>
                </a:solidFill>
              </a:rPr>
              <a:t>Cargo-only flights 	</a:t>
            </a:r>
            <a:r>
              <a:rPr lang="en-US" sz="1100" dirty="0">
                <a:solidFill>
                  <a:srgbClr val="000000"/>
                </a:solidFill>
              </a:rPr>
              <a:t>= No passengers on board, only cargo (consisting of freight and mail)</a:t>
            </a:r>
          </a:p>
          <a:p>
            <a:pPr lvl="0"/>
            <a:r>
              <a:rPr lang="en-US" sz="1100" b="1" dirty="0">
                <a:solidFill>
                  <a:srgbClr val="000000"/>
                </a:solidFill>
              </a:rPr>
              <a:t>Total flights 		</a:t>
            </a:r>
            <a:r>
              <a:rPr lang="en-US" sz="1100" dirty="0">
                <a:solidFill>
                  <a:srgbClr val="000000"/>
                </a:solidFill>
              </a:rPr>
              <a:t>= Flights within the US and flights to intra- and extra-European countries</a:t>
            </a:r>
          </a:p>
          <a:p>
            <a:pPr lvl="0"/>
            <a:r>
              <a:rPr lang="en-US" sz="1100" b="1" dirty="0">
                <a:solidFill>
                  <a:srgbClr val="000000"/>
                </a:solidFill>
              </a:rPr>
              <a:t>Intra-state flights 	</a:t>
            </a:r>
            <a:r>
              <a:rPr lang="en-US" sz="1100" dirty="0">
                <a:solidFill>
                  <a:srgbClr val="000000"/>
                </a:solidFill>
              </a:rPr>
              <a:t>= Flights within a US state and flights within Germany</a:t>
            </a:r>
          </a:p>
        </p:txBody>
      </p:sp>
      <p:sp>
        <p:nvSpPr>
          <p:cNvPr id="20" name="Rectangle 11">
            <a:extLst>
              <a:ext uri="{FF2B5EF4-FFF2-40B4-BE49-F238E27FC236}">
                <a16:creationId xmlns:a16="http://schemas.microsoft.com/office/drawing/2014/main" id="{29F68DBE-C95F-20E8-705F-D72024F6D987}"/>
              </a:ext>
            </a:extLst>
          </p:cNvPr>
          <p:cNvSpPr/>
          <p:nvPr/>
        </p:nvSpPr>
        <p:spPr>
          <a:xfrm rot="5400000">
            <a:off x="7383012" y="-1209080"/>
            <a:ext cx="207269" cy="7261863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ctangle 11">
            <a:extLst>
              <a:ext uri="{FF2B5EF4-FFF2-40B4-BE49-F238E27FC236}">
                <a16:creationId xmlns:a16="http://schemas.microsoft.com/office/drawing/2014/main" id="{72A09A20-0ACE-70B3-CB2E-23A5765EB2D5}"/>
              </a:ext>
            </a:extLst>
          </p:cNvPr>
          <p:cNvSpPr/>
          <p:nvPr/>
        </p:nvSpPr>
        <p:spPr>
          <a:xfrm rot="5400000">
            <a:off x="5943379" y="1970796"/>
            <a:ext cx="424983" cy="197031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EE4D1C1-B5F9-F55A-0CA4-7E166B716EC7}"/>
              </a:ext>
            </a:extLst>
          </p:cNvPr>
          <p:cNvSpPr txBox="1">
            <a:spLocks/>
          </p:cNvSpPr>
          <p:nvPr/>
        </p:nvSpPr>
        <p:spPr>
          <a:xfrm>
            <a:off x="819378" y="3842253"/>
            <a:ext cx="11372621" cy="4092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Almost </a:t>
            </a:r>
            <a:r>
              <a:rPr lang="en-US" sz="1800" b="1" dirty="0"/>
              <a:t>no cargo-only flights </a:t>
            </a:r>
            <a:r>
              <a:rPr lang="en-US" sz="1800" dirty="0"/>
              <a:t>by regional </a:t>
            </a:r>
            <a:r>
              <a:rPr lang="en-US" sz="1800" b="1" dirty="0"/>
              <a:t>jet</a:t>
            </a:r>
            <a:r>
              <a:rPr lang="en-US" sz="1800" dirty="0"/>
              <a:t> aircraf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BA0B75-E0F9-AE1C-E7E5-9C79C71068B1}"/>
              </a:ext>
            </a:extLst>
          </p:cNvPr>
          <p:cNvSpPr txBox="1">
            <a:spLocks/>
          </p:cNvSpPr>
          <p:nvPr/>
        </p:nvSpPr>
        <p:spPr>
          <a:xfrm>
            <a:off x="819379" y="4233316"/>
            <a:ext cx="11372621" cy="17888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Cargo UAS are </a:t>
            </a:r>
            <a:r>
              <a:rPr lang="en-US" sz="1800" b="1" dirty="0"/>
              <a:t>more likely </a:t>
            </a:r>
            <a:r>
              <a:rPr lang="en-US" sz="1800" dirty="0"/>
              <a:t>to occur </a:t>
            </a:r>
          </a:p>
          <a:p>
            <a:pPr lvl="1"/>
            <a:r>
              <a:rPr lang="en-US" sz="1800" dirty="0"/>
              <a:t>via the </a:t>
            </a:r>
            <a:r>
              <a:rPr lang="en-US" sz="1800" b="1" dirty="0"/>
              <a:t>introduction of additional </a:t>
            </a:r>
            <a:r>
              <a:rPr lang="en-US" sz="1800" dirty="0"/>
              <a:t>regional air cargo operations </a:t>
            </a:r>
            <a:r>
              <a:rPr lang="en-US" sz="1800" b="1" dirty="0"/>
              <a:t>in Germany </a:t>
            </a:r>
          </a:p>
          <a:p>
            <a:pPr lvl="1"/>
            <a:r>
              <a:rPr lang="en-US" sz="1800" dirty="0"/>
              <a:t>via the </a:t>
            </a:r>
            <a:r>
              <a:rPr lang="en-US" sz="1800" b="1" dirty="0"/>
              <a:t>replacement of existing </a:t>
            </a:r>
            <a:r>
              <a:rPr lang="en-US" sz="1800" dirty="0"/>
              <a:t>regional air cargo operations </a:t>
            </a:r>
            <a:r>
              <a:rPr lang="en-US" sz="1800" b="1" dirty="0"/>
              <a:t>in Texas/California</a:t>
            </a:r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7486B16E-7C74-05D3-EA06-80CDFFED8624}"/>
              </a:ext>
            </a:extLst>
          </p:cNvPr>
          <p:cNvSpPr/>
          <p:nvPr/>
        </p:nvSpPr>
        <p:spPr>
          <a:xfrm rot="5400000">
            <a:off x="7383012" y="-991107"/>
            <a:ext cx="207269" cy="7261863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F19DB857-6C3B-9655-5CD9-6513E599E994}"/>
              </a:ext>
            </a:extLst>
          </p:cNvPr>
          <p:cNvSpPr/>
          <p:nvPr/>
        </p:nvSpPr>
        <p:spPr>
          <a:xfrm rot="5400000">
            <a:off x="8916810" y="967676"/>
            <a:ext cx="424986" cy="3976551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405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20" grpId="0" animBg="1"/>
      <p:bldP spid="20" grpId="1" animBg="1"/>
      <p:bldP spid="3" grpId="0" animBg="1"/>
      <p:bldP spid="3" grpId="1" animBg="1"/>
      <p:bldP spid="9" grpId="0"/>
      <p:bldP spid="10" grpId="0"/>
      <p:bldP spid="6" grpId="0" animBg="1"/>
      <p:bldP spid="6" grpId="1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77262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Grafik 56" descr="Ein Bild, das Kreis, Screenshot, Logo, Grafiken enthält.&#10;&#10;Automatisch generierte Beschreibung">
            <a:extLst>
              <a:ext uri="{FF2B5EF4-FFF2-40B4-BE49-F238E27FC236}">
                <a16:creationId xmlns:a16="http://schemas.microsoft.com/office/drawing/2014/main" id="{DD333FA3-36AE-5BB6-DCB5-2C833C713E0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046" y="4392896"/>
            <a:ext cx="1522123" cy="15221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Characteristics of Regional Cargo UAS</a:t>
            </a:r>
            <a:br>
              <a:rPr lang="en-US" sz="2400" dirty="0"/>
            </a:br>
            <a:r>
              <a:rPr lang="en-US" sz="2400" dirty="0"/>
              <a:t>But which airports really qualify for initial cargo UAS operations?</a:t>
            </a:r>
            <a:br>
              <a:rPr lang="en-US" sz="2400" dirty="0"/>
            </a:br>
            <a:br>
              <a:rPr lang="en-US" sz="2400" dirty="0"/>
            </a:b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753CD56-B79D-9586-56A9-29AF79C8A5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7851" y="1614885"/>
            <a:ext cx="9100028" cy="140075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1" dirty="0"/>
              <a:t>Identifying a baseline of accessible airports for UAS based on</a:t>
            </a:r>
          </a:p>
        </p:txBody>
      </p:sp>
      <p:grpSp>
        <p:nvGrpSpPr>
          <p:cNvPr id="9" name="Gruppieren 44">
            <a:extLst>
              <a:ext uri="{FF2B5EF4-FFF2-40B4-BE49-F238E27FC236}">
                <a16:creationId xmlns:a16="http://schemas.microsoft.com/office/drawing/2014/main" id="{BBE77566-0823-1312-8DDC-3B93A98663D8}"/>
              </a:ext>
            </a:extLst>
          </p:cNvPr>
          <p:cNvGrpSpPr>
            <a:grpSpLocks noChangeAspect="1"/>
          </p:cNvGrpSpPr>
          <p:nvPr/>
        </p:nvGrpSpPr>
        <p:grpSpPr>
          <a:xfrm>
            <a:off x="990619" y="2100065"/>
            <a:ext cx="497307" cy="497307"/>
            <a:chOff x="274230" y="3816816"/>
            <a:chExt cx="720000" cy="720000"/>
          </a:xfrm>
        </p:grpSpPr>
        <p:sp>
          <p:nvSpPr>
            <p:cNvPr id="10" name="Ellipse 178">
              <a:extLst>
                <a:ext uri="{FF2B5EF4-FFF2-40B4-BE49-F238E27FC236}">
                  <a16:creationId xmlns:a16="http://schemas.microsoft.com/office/drawing/2014/main" id="{3810EF36-67AB-82DB-D1ED-6AC92BF50B67}"/>
                </a:ext>
              </a:extLst>
            </p:cNvPr>
            <p:cNvSpPr/>
            <p:nvPr/>
          </p:nvSpPr>
          <p:spPr>
            <a:xfrm>
              <a:off x="274230" y="3816816"/>
              <a:ext cx="720000" cy="720000"/>
            </a:xfrm>
            <a:prstGeom prst="ellipse">
              <a:avLst/>
            </a:prstGeom>
            <a:solidFill>
              <a:srgbClr val="00658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2F747B40-590D-1C25-39D6-019E1160B0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821" y="3979698"/>
              <a:ext cx="418819" cy="394236"/>
            </a:xfrm>
            <a:custGeom>
              <a:avLst/>
              <a:gdLst>
                <a:gd name="T0" fmla="*/ 195 w 460"/>
                <a:gd name="T1" fmla="*/ 168 h 433"/>
                <a:gd name="T2" fmla="*/ 142 w 460"/>
                <a:gd name="T3" fmla="*/ 168 h 433"/>
                <a:gd name="T4" fmla="*/ 142 w 460"/>
                <a:gd name="T5" fmla="*/ 106 h 433"/>
                <a:gd name="T6" fmla="*/ 0 w 460"/>
                <a:gd name="T7" fmla="*/ 106 h 433"/>
                <a:gd name="T8" fmla="*/ 0 w 460"/>
                <a:gd name="T9" fmla="*/ 433 h 433"/>
                <a:gd name="T10" fmla="*/ 345 w 460"/>
                <a:gd name="T11" fmla="*/ 433 h 433"/>
                <a:gd name="T12" fmla="*/ 345 w 460"/>
                <a:gd name="T13" fmla="*/ 106 h 433"/>
                <a:gd name="T14" fmla="*/ 195 w 460"/>
                <a:gd name="T15" fmla="*/ 106 h 433"/>
                <a:gd name="T16" fmla="*/ 195 w 460"/>
                <a:gd name="T17" fmla="*/ 168 h 433"/>
                <a:gd name="T18" fmla="*/ 187 w 460"/>
                <a:gd name="T19" fmla="*/ 230 h 433"/>
                <a:gd name="T20" fmla="*/ 219 w 460"/>
                <a:gd name="T21" fmla="*/ 274 h 433"/>
                <a:gd name="T22" fmla="*/ 201 w 460"/>
                <a:gd name="T23" fmla="*/ 274 h 433"/>
                <a:gd name="T24" fmla="*/ 201 w 460"/>
                <a:gd name="T25" fmla="*/ 341 h 433"/>
                <a:gd name="T26" fmla="*/ 174 w 460"/>
                <a:gd name="T27" fmla="*/ 341 h 433"/>
                <a:gd name="T28" fmla="*/ 174 w 460"/>
                <a:gd name="T29" fmla="*/ 274 h 433"/>
                <a:gd name="T30" fmla="*/ 155 w 460"/>
                <a:gd name="T31" fmla="*/ 274 h 433"/>
                <a:gd name="T32" fmla="*/ 187 w 460"/>
                <a:gd name="T33" fmla="*/ 230 h 433"/>
                <a:gd name="T34" fmla="*/ 297 w 460"/>
                <a:gd name="T35" fmla="*/ 390 h 433"/>
                <a:gd name="T36" fmla="*/ 153 w 460"/>
                <a:gd name="T37" fmla="*/ 390 h 433"/>
                <a:gd name="T38" fmla="*/ 153 w 460"/>
                <a:gd name="T39" fmla="*/ 363 h 433"/>
                <a:gd name="T40" fmla="*/ 297 w 460"/>
                <a:gd name="T41" fmla="*/ 363 h 433"/>
                <a:gd name="T42" fmla="*/ 297 w 460"/>
                <a:gd name="T43" fmla="*/ 390 h 433"/>
                <a:gd name="T44" fmla="*/ 265 w 460"/>
                <a:gd name="T45" fmla="*/ 230 h 433"/>
                <a:gd name="T46" fmla="*/ 297 w 460"/>
                <a:gd name="T47" fmla="*/ 274 h 433"/>
                <a:gd name="T48" fmla="*/ 278 w 460"/>
                <a:gd name="T49" fmla="*/ 274 h 433"/>
                <a:gd name="T50" fmla="*/ 278 w 460"/>
                <a:gd name="T51" fmla="*/ 341 h 433"/>
                <a:gd name="T52" fmla="*/ 251 w 460"/>
                <a:gd name="T53" fmla="*/ 341 h 433"/>
                <a:gd name="T54" fmla="*/ 251 w 460"/>
                <a:gd name="T55" fmla="*/ 274 h 433"/>
                <a:gd name="T56" fmla="*/ 233 w 460"/>
                <a:gd name="T57" fmla="*/ 274 h 433"/>
                <a:gd name="T58" fmla="*/ 265 w 460"/>
                <a:gd name="T59" fmla="*/ 230 h 433"/>
                <a:gd name="T60" fmla="*/ 145 w 460"/>
                <a:gd name="T61" fmla="*/ 76 h 433"/>
                <a:gd name="T62" fmla="*/ 3 w 460"/>
                <a:gd name="T63" fmla="*/ 76 h 433"/>
                <a:gd name="T64" fmla="*/ 129 w 460"/>
                <a:gd name="T65" fmla="*/ 0 h 433"/>
                <a:gd name="T66" fmla="*/ 262 w 460"/>
                <a:gd name="T67" fmla="*/ 0 h 433"/>
                <a:gd name="T68" fmla="*/ 145 w 460"/>
                <a:gd name="T69" fmla="*/ 76 h 433"/>
                <a:gd name="T70" fmla="*/ 460 w 460"/>
                <a:gd name="T71" fmla="*/ 27 h 433"/>
                <a:gd name="T72" fmla="*/ 460 w 460"/>
                <a:gd name="T73" fmla="*/ 330 h 433"/>
                <a:gd name="T74" fmla="*/ 372 w 460"/>
                <a:gd name="T75" fmla="*/ 428 h 433"/>
                <a:gd name="T76" fmla="*/ 372 w 460"/>
                <a:gd name="T77" fmla="*/ 100 h 433"/>
                <a:gd name="T78" fmla="*/ 460 w 460"/>
                <a:gd name="T79" fmla="*/ 27 h 433"/>
                <a:gd name="T80" fmla="*/ 455 w 460"/>
                <a:gd name="T81" fmla="*/ 0 h 433"/>
                <a:gd name="T82" fmla="*/ 350 w 460"/>
                <a:gd name="T83" fmla="*/ 76 h 433"/>
                <a:gd name="T84" fmla="*/ 209 w 460"/>
                <a:gd name="T85" fmla="*/ 76 h 433"/>
                <a:gd name="T86" fmla="*/ 321 w 460"/>
                <a:gd name="T87" fmla="*/ 0 h 433"/>
                <a:gd name="T88" fmla="*/ 455 w 460"/>
                <a:gd name="T89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0" h="433">
                  <a:moveTo>
                    <a:pt x="195" y="168"/>
                  </a:moveTo>
                  <a:lnTo>
                    <a:pt x="142" y="168"/>
                  </a:lnTo>
                  <a:lnTo>
                    <a:pt x="142" y="106"/>
                  </a:lnTo>
                  <a:lnTo>
                    <a:pt x="0" y="106"/>
                  </a:lnTo>
                  <a:lnTo>
                    <a:pt x="0" y="433"/>
                  </a:lnTo>
                  <a:lnTo>
                    <a:pt x="345" y="433"/>
                  </a:lnTo>
                  <a:lnTo>
                    <a:pt x="345" y="106"/>
                  </a:lnTo>
                  <a:lnTo>
                    <a:pt x="195" y="106"/>
                  </a:lnTo>
                  <a:lnTo>
                    <a:pt x="195" y="168"/>
                  </a:lnTo>
                  <a:close/>
                  <a:moveTo>
                    <a:pt x="187" y="230"/>
                  </a:moveTo>
                  <a:lnTo>
                    <a:pt x="219" y="274"/>
                  </a:lnTo>
                  <a:lnTo>
                    <a:pt x="201" y="274"/>
                  </a:lnTo>
                  <a:lnTo>
                    <a:pt x="201" y="341"/>
                  </a:lnTo>
                  <a:lnTo>
                    <a:pt x="174" y="341"/>
                  </a:lnTo>
                  <a:lnTo>
                    <a:pt x="174" y="274"/>
                  </a:lnTo>
                  <a:lnTo>
                    <a:pt x="155" y="274"/>
                  </a:lnTo>
                  <a:lnTo>
                    <a:pt x="187" y="230"/>
                  </a:lnTo>
                  <a:close/>
                  <a:moveTo>
                    <a:pt x="297" y="390"/>
                  </a:moveTo>
                  <a:lnTo>
                    <a:pt x="153" y="390"/>
                  </a:lnTo>
                  <a:lnTo>
                    <a:pt x="153" y="363"/>
                  </a:lnTo>
                  <a:lnTo>
                    <a:pt x="297" y="363"/>
                  </a:lnTo>
                  <a:lnTo>
                    <a:pt x="297" y="390"/>
                  </a:lnTo>
                  <a:close/>
                  <a:moveTo>
                    <a:pt x="265" y="230"/>
                  </a:moveTo>
                  <a:lnTo>
                    <a:pt x="297" y="274"/>
                  </a:lnTo>
                  <a:lnTo>
                    <a:pt x="278" y="274"/>
                  </a:lnTo>
                  <a:lnTo>
                    <a:pt x="278" y="341"/>
                  </a:lnTo>
                  <a:lnTo>
                    <a:pt x="251" y="341"/>
                  </a:lnTo>
                  <a:lnTo>
                    <a:pt x="251" y="274"/>
                  </a:lnTo>
                  <a:lnTo>
                    <a:pt x="233" y="274"/>
                  </a:lnTo>
                  <a:lnTo>
                    <a:pt x="265" y="230"/>
                  </a:lnTo>
                  <a:close/>
                  <a:moveTo>
                    <a:pt x="145" y="76"/>
                  </a:moveTo>
                  <a:lnTo>
                    <a:pt x="3" y="76"/>
                  </a:lnTo>
                  <a:lnTo>
                    <a:pt x="129" y="0"/>
                  </a:lnTo>
                  <a:lnTo>
                    <a:pt x="262" y="0"/>
                  </a:lnTo>
                  <a:lnTo>
                    <a:pt x="145" y="76"/>
                  </a:lnTo>
                  <a:close/>
                  <a:moveTo>
                    <a:pt x="460" y="27"/>
                  </a:moveTo>
                  <a:lnTo>
                    <a:pt x="460" y="330"/>
                  </a:lnTo>
                  <a:lnTo>
                    <a:pt x="372" y="428"/>
                  </a:lnTo>
                  <a:lnTo>
                    <a:pt x="372" y="100"/>
                  </a:lnTo>
                  <a:lnTo>
                    <a:pt x="460" y="27"/>
                  </a:lnTo>
                  <a:close/>
                  <a:moveTo>
                    <a:pt x="455" y="0"/>
                  </a:moveTo>
                  <a:lnTo>
                    <a:pt x="350" y="76"/>
                  </a:lnTo>
                  <a:lnTo>
                    <a:pt x="209" y="76"/>
                  </a:lnTo>
                  <a:lnTo>
                    <a:pt x="321" y="0"/>
                  </a:lnTo>
                  <a:lnTo>
                    <a:pt x="45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2" name="Gruppieren 47">
            <a:extLst>
              <a:ext uri="{FF2B5EF4-FFF2-40B4-BE49-F238E27FC236}">
                <a16:creationId xmlns:a16="http://schemas.microsoft.com/office/drawing/2014/main" id="{3591D3AC-DCC8-45AA-927B-7F93AA307A00}"/>
              </a:ext>
            </a:extLst>
          </p:cNvPr>
          <p:cNvGrpSpPr>
            <a:grpSpLocks noChangeAspect="1"/>
          </p:cNvGrpSpPr>
          <p:nvPr/>
        </p:nvGrpSpPr>
        <p:grpSpPr>
          <a:xfrm>
            <a:off x="990849" y="2961387"/>
            <a:ext cx="497077" cy="497077"/>
            <a:chOff x="4233590" y="1509263"/>
            <a:chExt cx="720000" cy="720000"/>
          </a:xfrm>
        </p:grpSpPr>
        <p:sp>
          <p:nvSpPr>
            <p:cNvPr id="13" name="Ellipse 106">
              <a:extLst>
                <a:ext uri="{FF2B5EF4-FFF2-40B4-BE49-F238E27FC236}">
                  <a16:creationId xmlns:a16="http://schemas.microsoft.com/office/drawing/2014/main" id="{E790D1A0-7074-4C49-1B1B-055481B8CA79}"/>
                </a:ext>
              </a:extLst>
            </p:cNvPr>
            <p:cNvSpPr/>
            <p:nvPr/>
          </p:nvSpPr>
          <p:spPr>
            <a:xfrm>
              <a:off x="4233590" y="1509263"/>
              <a:ext cx="720000" cy="720000"/>
            </a:xfrm>
            <a:prstGeom prst="ellipse">
              <a:avLst/>
            </a:prstGeom>
            <a:solidFill>
              <a:srgbClr val="00658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4" name="Group 747">
              <a:extLst>
                <a:ext uri="{FF2B5EF4-FFF2-40B4-BE49-F238E27FC236}">
                  <a16:creationId xmlns:a16="http://schemas.microsoft.com/office/drawing/2014/main" id="{2070D80E-2E3A-0954-F4AC-D0B51EB15B2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87664" y="1616689"/>
              <a:ext cx="478240" cy="534711"/>
              <a:chOff x="-2301" y="460"/>
              <a:chExt cx="2101" cy="2357"/>
            </a:xfrm>
            <a:solidFill>
              <a:schemeClr val="bg1"/>
            </a:solidFill>
          </p:grpSpPr>
          <p:sp>
            <p:nvSpPr>
              <p:cNvPr id="15" name="Freeform 736">
                <a:extLst>
                  <a:ext uri="{FF2B5EF4-FFF2-40B4-BE49-F238E27FC236}">
                    <a16:creationId xmlns:a16="http://schemas.microsoft.com/office/drawing/2014/main" id="{2B2263BA-D9E3-96CB-44DE-8066446BD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558" y="460"/>
                <a:ext cx="599" cy="1059"/>
              </a:xfrm>
              <a:custGeom>
                <a:avLst/>
                <a:gdLst>
                  <a:gd name="T0" fmla="*/ 19318954 w 189"/>
                  <a:gd name="T1" fmla="*/ 35236352 h 333"/>
                  <a:gd name="T2" fmla="*/ 6738328 w 189"/>
                  <a:gd name="T3" fmla="*/ 35236352 h 333"/>
                  <a:gd name="T4" fmla="*/ 0 w 189"/>
                  <a:gd name="T5" fmla="*/ 0 h 333"/>
                  <a:gd name="T6" fmla="*/ 3388787 w 189"/>
                  <a:gd name="T7" fmla="*/ 0 h 333"/>
                  <a:gd name="T8" fmla="*/ 19318954 w 189"/>
                  <a:gd name="T9" fmla="*/ 35236352 h 33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89" h="333">
                    <a:moveTo>
                      <a:pt x="189" y="333"/>
                    </a:moveTo>
                    <a:lnTo>
                      <a:pt x="66" y="333"/>
                    </a:lnTo>
                    <a:lnTo>
                      <a:pt x="0" y="0"/>
                    </a:lnTo>
                    <a:lnTo>
                      <a:pt x="33" y="0"/>
                    </a:lnTo>
                    <a:lnTo>
                      <a:pt x="189" y="333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AutoShape 737">
                <a:extLst>
                  <a:ext uri="{FF2B5EF4-FFF2-40B4-BE49-F238E27FC236}">
                    <a16:creationId xmlns:a16="http://schemas.microsoft.com/office/drawing/2014/main" id="{57FD5B5E-B805-C946-D89D-32081C52A9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511" y="1045"/>
                <a:ext cx="419" cy="12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7" name="Group 738">
                <a:extLst>
                  <a:ext uri="{FF2B5EF4-FFF2-40B4-BE49-F238E27FC236}">
                    <a16:creationId xmlns:a16="http://schemas.microsoft.com/office/drawing/2014/main" id="{125E92EE-F45E-40EA-6C0C-5C3B6C5B74E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V="1">
                <a:off x="-1558" y="1758"/>
                <a:ext cx="599" cy="1059"/>
                <a:chOff x="3591" y="1450"/>
                <a:chExt cx="189" cy="333"/>
              </a:xfrm>
              <a:grpFill/>
            </p:grpSpPr>
            <p:sp>
              <p:nvSpPr>
                <p:cNvPr id="24" name="Freeform 739">
                  <a:extLst>
                    <a:ext uri="{FF2B5EF4-FFF2-40B4-BE49-F238E27FC236}">
                      <a16:creationId xmlns:a16="http://schemas.microsoft.com/office/drawing/2014/main" id="{BAA5FDA4-FDF0-1862-A106-A180C7D3E6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1" y="1450"/>
                  <a:ext cx="189" cy="333"/>
                </a:xfrm>
                <a:custGeom>
                  <a:avLst/>
                  <a:gdLst>
                    <a:gd name="T0" fmla="*/ 189 w 189"/>
                    <a:gd name="T1" fmla="*/ 333 h 333"/>
                    <a:gd name="T2" fmla="*/ 66 w 189"/>
                    <a:gd name="T3" fmla="*/ 333 h 333"/>
                    <a:gd name="T4" fmla="*/ 0 w 189"/>
                    <a:gd name="T5" fmla="*/ 0 h 333"/>
                    <a:gd name="T6" fmla="*/ 33 w 189"/>
                    <a:gd name="T7" fmla="*/ 0 h 333"/>
                    <a:gd name="T8" fmla="*/ 189 w 189"/>
                    <a:gd name="T9" fmla="*/ 333 h 3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89" h="333">
                      <a:moveTo>
                        <a:pt x="189" y="333"/>
                      </a:moveTo>
                      <a:lnTo>
                        <a:pt x="66" y="333"/>
                      </a:ln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189" y="3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 cmpd="sng">
                      <a:solidFill>
                        <a:schemeClr val="tx1"/>
                      </a:solidFill>
                      <a:prstDash val="solid"/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" name="AutoShape 740">
                  <a:extLst>
                    <a:ext uri="{FF2B5EF4-FFF2-40B4-BE49-F238E27FC236}">
                      <a16:creationId xmlns:a16="http://schemas.microsoft.com/office/drawing/2014/main" id="{EB911093-81D0-035D-6E4A-B4962DEF37B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06" y="1634"/>
                  <a:ext cx="132" cy="39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rot="10800000" wrap="none" lIns="90000" tIns="46800" rIns="90000" bIns="4680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8" name="AutoShape 741">
                <a:extLst>
                  <a:ext uri="{FF2B5EF4-FFF2-40B4-BE49-F238E27FC236}">
                    <a16:creationId xmlns:a16="http://schemas.microsoft.com/office/drawing/2014/main" id="{8C44EA71-B678-2E77-78DA-478DCBBBB5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092" y="1500"/>
                <a:ext cx="1620" cy="27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9" name="Group 742">
                <a:extLst>
                  <a:ext uri="{FF2B5EF4-FFF2-40B4-BE49-F238E27FC236}">
                    <a16:creationId xmlns:a16="http://schemas.microsoft.com/office/drawing/2014/main" id="{351088CF-0D23-6C36-696B-430511E1AB1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-2301" y="1058"/>
                <a:ext cx="419" cy="1161"/>
                <a:chOff x="3357" y="1305"/>
                <a:chExt cx="132" cy="365"/>
              </a:xfrm>
              <a:grpFill/>
            </p:grpSpPr>
            <p:sp>
              <p:nvSpPr>
                <p:cNvPr id="21" name="Freeform 743">
                  <a:extLst>
                    <a:ext uri="{FF2B5EF4-FFF2-40B4-BE49-F238E27FC236}">
                      <a16:creationId xmlns:a16="http://schemas.microsoft.com/office/drawing/2014/main" id="{6AFE7626-54F9-C828-5F1C-4D2EC45652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80" y="1305"/>
                  <a:ext cx="100" cy="170"/>
                </a:xfrm>
                <a:custGeom>
                  <a:avLst/>
                  <a:gdLst>
                    <a:gd name="T0" fmla="*/ 100 w 100"/>
                    <a:gd name="T1" fmla="*/ 170 h 170"/>
                    <a:gd name="T2" fmla="*/ 0 w 100"/>
                    <a:gd name="T3" fmla="*/ 169 h 170"/>
                    <a:gd name="T4" fmla="*/ 0 w 100"/>
                    <a:gd name="T5" fmla="*/ 0 h 170"/>
                    <a:gd name="T6" fmla="*/ 28 w 100"/>
                    <a:gd name="T7" fmla="*/ 5 h 170"/>
                    <a:gd name="T8" fmla="*/ 100 w 100"/>
                    <a:gd name="T9" fmla="*/ 170 h 1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0" h="170">
                      <a:moveTo>
                        <a:pt x="100" y="170"/>
                      </a:moveTo>
                      <a:lnTo>
                        <a:pt x="0" y="169"/>
                      </a:lnTo>
                      <a:lnTo>
                        <a:pt x="0" y="0"/>
                      </a:lnTo>
                      <a:lnTo>
                        <a:pt x="28" y="5"/>
                      </a:lnTo>
                      <a:lnTo>
                        <a:pt x="100" y="17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 cmpd="sng">
                      <a:solidFill>
                        <a:schemeClr val="tx1"/>
                      </a:solidFill>
                      <a:prstDash val="solid"/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" name="Freeform 744">
                  <a:extLst>
                    <a:ext uri="{FF2B5EF4-FFF2-40B4-BE49-F238E27FC236}">
                      <a16:creationId xmlns:a16="http://schemas.microsoft.com/office/drawing/2014/main" id="{33F76277-BEDD-8FEF-9660-88EDBA835A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V="1">
                  <a:off x="3380" y="1500"/>
                  <a:ext cx="100" cy="170"/>
                </a:xfrm>
                <a:custGeom>
                  <a:avLst/>
                  <a:gdLst>
                    <a:gd name="T0" fmla="*/ 100 w 100"/>
                    <a:gd name="T1" fmla="*/ 170 h 170"/>
                    <a:gd name="T2" fmla="*/ 0 w 100"/>
                    <a:gd name="T3" fmla="*/ 169 h 170"/>
                    <a:gd name="T4" fmla="*/ 0 w 100"/>
                    <a:gd name="T5" fmla="*/ 0 h 170"/>
                    <a:gd name="T6" fmla="*/ 28 w 100"/>
                    <a:gd name="T7" fmla="*/ 5 h 170"/>
                    <a:gd name="T8" fmla="*/ 100 w 100"/>
                    <a:gd name="T9" fmla="*/ 170 h 1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0" h="170">
                      <a:moveTo>
                        <a:pt x="100" y="170"/>
                      </a:moveTo>
                      <a:lnTo>
                        <a:pt x="0" y="169"/>
                      </a:lnTo>
                      <a:lnTo>
                        <a:pt x="0" y="0"/>
                      </a:lnTo>
                      <a:lnTo>
                        <a:pt x="28" y="5"/>
                      </a:lnTo>
                      <a:lnTo>
                        <a:pt x="100" y="17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 cmpd="sng">
                      <a:solidFill>
                        <a:schemeClr val="tx1"/>
                      </a:solidFill>
                      <a:prstDash val="solid"/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" name="AutoShape 745">
                  <a:extLst>
                    <a:ext uri="{FF2B5EF4-FFF2-40B4-BE49-F238E27FC236}">
                      <a16:creationId xmlns:a16="http://schemas.microsoft.com/office/drawing/2014/main" id="{81123395-4E03-549E-96CB-2B06C3CCF0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57" y="1468"/>
                  <a:ext cx="132" cy="39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20" name="AutoShape 746">
                <a:extLst>
                  <a:ext uri="{FF2B5EF4-FFF2-40B4-BE49-F238E27FC236}">
                    <a16:creationId xmlns:a16="http://schemas.microsoft.com/office/drawing/2014/main" id="{CEDAACB8-59BD-17AB-3E24-F9E20776CE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823" y="1500"/>
                <a:ext cx="623" cy="274"/>
              </a:xfrm>
              <a:prstGeom prst="flowChartDelay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7AF686A5-3A7F-3C89-0C44-C6FD1EF28368}"/>
              </a:ext>
            </a:extLst>
          </p:cNvPr>
          <p:cNvSpPr txBox="1">
            <a:spLocks/>
          </p:cNvSpPr>
          <p:nvPr/>
        </p:nvSpPr>
        <p:spPr>
          <a:xfrm>
            <a:off x="1366107" y="2405503"/>
            <a:ext cx="9100028" cy="4626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blic acces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or without commercial servic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E5B7BB40-4717-254F-C9EA-73C81C5236EB}"/>
              </a:ext>
            </a:extLst>
          </p:cNvPr>
          <p:cNvSpPr txBox="1">
            <a:spLocks/>
          </p:cNvSpPr>
          <p:nvPr/>
        </p:nvSpPr>
        <p:spPr>
          <a:xfrm>
            <a:off x="1545986" y="2008898"/>
            <a:ext cx="9100028" cy="4626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6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Type of air transport services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D33B403B-BADA-E8D6-F64B-8A6BAF1D50B8}"/>
              </a:ext>
            </a:extLst>
          </p:cNvPr>
          <p:cNvSpPr txBox="1">
            <a:spLocks/>
          </p:cNvSpPr>
          <p:nvPr/>
        </p:nvSpPr>
        <p:spPr>
          <a:xfrm>
            <a:off x="1545986" y="2854325"/>
            <a:ext cx="9100028" cy="3429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6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Annual number of IFR flight movements to identify less busy public airports</a:t>
            </a:r>
          </a:p>
        </p:txBody>
      </p:sp>
      <p:sp>
        <p:nvSpPr>
          <p:cNvPr id="31" name="Textfeld 6">
            <a:extLst>
              <a:ext uri="{FF2B5EF4-FFF2-40B4-BE49-F238E27FC236}">
                <a16:creationId xmlns:a16="http://schemas.microsoft.com/office/drawing/2014/main" id="{13430F67-79AE-BEA6-1B8A-1BD7FAF76EF5}"/>
              </a:ext>
            </a:extLst>
          </p:cNvPr>
          <p:cNvSpPr txBox="1"/>
          <p:nvPr/>
        </p:nvSpPr>
        <p:spPr>
          <a:xfrm>
            <a:off x="862347" y="6395780"/>
            <a:ext cx="89168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cs typeface="Arial" pitchFamily="34" charset="0"/>
              </a:rPr>
              <a:t>*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Towered </a:t>
            </a:r>
            <a:r>
              <a:rPr lang="en-US" sz="1100" dirty="0">
                <a:solidFill>
                  <a:srgbClr val="000000"/>
                </a:solidFill>
              </a:rPr>
              <a:t>airports refer to airports with a physical air traffic control tower receiving separation by ATC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cs typeface="Arial" pitchFamily="34" charset="0"/>
            </a:endParaRPr>
          </a:p>
        </p:txBody>
      </p:sp>
      <p:sp>
        <p:nvSpPr>
          <p:cNvPr id="91" name="Textfeld 90">
            <a:extLst>
              <a:ext uri="{FF2B5EF4-FFF2-40B4-BE49-F238E27FC236}">
                <a16:creationId xmlns:a16="http://schemas.microsoft.com/office/drawing/2014/main" id="{37A15746-12B2-D8A0-FB6F-D3698F7056A9}"/>
              </a:ext>
            </a:extLst>
          </p:cNvPr>
          <p:cNvSpPr txBox="1"/>
          <p:nvPr/>
        </p:nvSpPr>
        <p:spPr>
          <a:xfrm>
            <a:off x="5787166" y="4506710"/>
            <a:ext cx="15446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CC5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tional Access Airports (IAA1)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66247D0A-85D7-362E-7446-B2CDE58BA273}"/>
              </a:ext>
            </a:extLst>
          </p:cNvPr>
          <p:cNvSpPr txBox="1"/>
          <p:nvPr/>
        </p:nvSpPr>
        <p:spPr>
          <a:xfrm>
            <a:off x="5649522" y="5378744"/>
            <a:ext cx="16414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658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tional Access Airports (IAA2)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A12EECAE-2466-E8F3-D7F1-54961AD4C9CD}"/>
              </a:ext>
            </a:extLst>
          </p:cNvPr>
          <p:cNvSpPr txBox="1"/>
          <p:nvPr/>
        </p:nvSpPr>
        <p:spPr>
          <a:xfrm>
            <a:off x="3260833" y="5113534"/>
            <a:ext cx="1117600" cy="523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658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ional Airports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51CBB80-6BBB-6D90-9C3A-FAEE64294C4B}"/>
              </a:ext>
            </a:extLst>
          </p:cNvPr>
          <p:cNvSpPr txBox="1">
            <a:spLocks/>
          </p:cNvSpPr>
          <p:nvPr/>
        </p:nvSpPr>
        <p:spPr>
          <a:xfrm>
            <a:off x="1402896" y="3222625"/>
            <a:ext cx="9724139" cy="463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800" b="1" dirty="0">
                <a:solidFill>
                  <a:srgbClr val="000000"/>
                </a:solidFill>
              </a:rPr>
              <a:t>Public towered* airports </a:t>
            </a:r>
            <a:r>
              <a:rPr lang="en-US" sz="1800" dirty="0">
                <a:solidFill>
                  <a:srgbClr val="000000"/>
                </a:solidFill>
              </a:rPr>
              <a:t>with annual </a:t>
            </a:r>
            <a:r>
              <a:rPr lang="en-US" sz="1800" b="1" dirty="0">
                <a:solidFill>
                  <a:srgbClr val="000000"/>
                </a:solidFill>
              </a:rPr>
              <a:t>IFR</a:t>
            </a:r>
            <a:r>
              <a:rPr lang="en-US" sz="1800" dirty="0">
                <a:solidFill>
                  <a:srgbClr val="000000"/>
                </a:solidFill>
              </a:rPr>
              <a:t> </a:t>
            </a:r>
            <a:r>
              <a:rPr lang="en-US" sz="1800" b="1" dirty="0">
                <a:solidFill>
                  <a:srgbClr val="000000"/>
                </a:solidFill>
              </a:rPr>
              <a:t>flight</a:t>
            </a:r>
            <a:r>
              <a:rPr lang="en-US" sz="1800" dirty="0">
                <a:solidFill>
                  <a:srgbClr val="000000"/>
                </a:solidFill>
              </a:rPr>
              <a:t> percentages </a:t>
            </a:r>
            <a:r>
              <a:rPr lang="en-US" sz="1800" b="1" dirty="0">
                <a:solidFill>
                  <a:srgbClr val="000000"/>
                </a:solidFill>
              </a:rPr>
              <a:t>under 2.2%</a:t>
            </a:r>
          </a:p>
          <a:p>
            <a:pPr lvl="1"/>
            <a:r>
              <a:rPr lang="en-US" sz="1800" b="1" dirty="0"/>
              <a:t>Public non-towered airports </a:t>
            </a:r>
            <a:r>
              <a:rPr lang="en-US" sz="1800" dirty="0"/>
              <a:t>(no record of flights)</a:t>
            </a:r>
            <a:r>
              <a:rPr lang="de-DE" sz="1800" dirty="0"/>
              <a:t> 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0A756821-4B77-5A56-2144-DB6F8F794989}"/>
              </a:ext>
            </a:extLst>
          </p:cNvPr>
          <p:cNvSpPr txBox="1"/>
          <p:nvPr/>
        </p:nvSpPr>
        <p:spPr>
          <a:xfrm>
            <a:off x="5257865" y="4201664"/>
            <a:ext cx="1947863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9B0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b Airports</a:t>
            </a:r>
          </a:p>
        </p:txBody>
      </p:sp>
      <p:sp>
        <p:nvSpPr>
          <p:cNvPr id="69" name="Geschweifte Klammer rechts 68">
            <a:extLst>
              <a:ext uri="{FF2B5EF4-FFF2-40B4-BE49-F238E27FC236}">
                <a16:creationId xmlns:a16="http://schemas.microsoft.com/office/drawing/2014/main" id="{52ACD9F2-433D-99AC-9E2F-A1B75D168356}"/>
              </a:ext>
            </a:extLst>
          </p:cNvPr>
          <p:cNvSpPr/>
          <p:nvPr/>
        </p:nvSpPr>
        <p:spPr>
          <a:xfrm>
            <a:off x="7262019" y="4209348"/>
            <a:ext cx="255588" cy="1117600"/>
          </a:xfrm>
          <a:prstGeom prst="rightBrace">
            <a:avLst>
              <a:gd name="adj1" fmla="val 53278"/>
              <a:gd name="adj2" fmla="val 50000"/>
            </a:avLst>
          </a:prstGeom>
          <a:ln w="19050">
            <a:solidFill>
              <a:srgbClr val="006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A0DCFEA9-80C4-FC97-6C7D-EBE32A825818}"/>
              </a:ext>
            </a:extLst>
          </p:cNvPr>
          <p:cNvSpPr txBox="1"/>
          <p:nvPr/>
        </p:nvSpPr>
        <p:spPr>
          <a:xfrm>
            <a:off x="7570790" y="4060152"/>
            <a:ext cx="4439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se 10 airports account for </a:t>
            </a:r>
            <a:r>
              <a:rPr lang="en-US" b="1" dirty="0">
                <a:solidFill>
                  <a:srgbClr val="000000"/>
                </a:solidFill>
                <a:latin typeface="Arial" panose="020B0604020202020204"/>
              </a:rPr>
              <a:t>87.7%</a:t>
            </a: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 of total annual IFR flights (Germany, 2022)</a:t>
            </a:r>
            <a:endParaRPr kumimoji="0" lang="en-US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E4E192DE-B1BD-EEFA-89A1-63EF7168E797}"/>
              </a:ext>
            </a:extLst>
          </p:cNvPr>
          <p:cNvSpPr txBox="1"/>
          <p:nvPr/>
        </p:nvSpPr>
        <p:spPr>
          <a:xfrm>
            <a:off x="7570789" y="4782465"/>
            <a:ext cx="45123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ach of these 10 airports has at least </a:t>
            </a:r>
            <a:r>
              <a:rPr kumimoji="0" lang="en-US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2.2% </a:t>
            </a:r>
            <a:r>
              <a:rPr kumimoji="0" lang="en-US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 total IFR flights by all 35 airports</a:t>
            </a: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A5A80EE7-0AD9-0562-788B-E0E6871635CC}"/>
              </a:ext>
            </a:extLst>
          </p:cNvPr>
          <p:cNvSpPr txBox="1"/>
          <p:nvPr/>
        </p:nvSpPr>
        <p:spPr>
          <a:xfrm>
            <a:off x="710729" y="4087143"/>
            <a:ext cx="32291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dirty="0">
                <a:ln>
                  <a:noFill/>
                </a:ln>
                <a:solidFill>
                  <a:srgbClr val="00658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d on the airport classification of Germany </a:t>
            </a:r>
          </a:p>
        </p:txBody>
      </p: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40404871-DB06-DF63-E0E9-E159F6C257CB}"/>
              </a:ext>
            </a:extLst>
          </p:cNvPr>
          <p:cNvCxnSpPr>
            <a:cxnSpLocks/>
          </p:cNvCxnSpPr>
          <p:nvPr/>
        </p:nvCxnSpPr>
        <p:spPr>
          <a:xfrm>
            <a:off x="5674659" y="5328977"/>
            <a:ext cx="1591202" cy="0"/>
          </a:xfrm>
          <a:prstGeom prst="line">
            <a:avLst/>
          </a:prstGeom>
          <a:ln w="19050">
            <a:solidFill>
              <a:srgbClr val="006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6">
            <a:extLst>
              <a:ext uri="{FF2B5EF4-FFF2-40B4-BE49-F238E27FC236}">
                <a16:creationId xmlns:a16="http://schemas.microsoft.com/office/drawing/2014/main" id="{1B376BC2-7B70-4612-454B-9CB129947F68}"/>
              </a:ext>
            </a:extLst>
          </p:cNvPr>
          <p:cNvCxnSpPr>
            <a:cxnSpLocks/>
          </p:cNvCxnSpPr>
          <p:nvPr/>
        </p:nvCxnSpPr>
        <p:spPr>
          <a:xfrm>
            <a:off x="4960044" y="4209348"/>
            <a:ext cx="2305817" cy="0"/>
          </a:xfrm>
          <a:prstGeom prst="line">
            <a:avLst/>
          </a:prstGeom>
          <a:ln w="19050">
            <a:solidFill>
              <a:srgbClr val="006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42CDF2F4-08B0-2CD5-BBBC-AF0BA66FC357}"/>
              </a:ext>
            </a:extLst>
          </p:cNvPr>
          <p:cNvCxnSpPr>
            <a:cxnSpLocks/>
          </p:cNvCxnSpPr>
          <p:nvPr/>
        </p:nvCxnSpPr>
        <p:spPr>
          <a:xfrm>
            <a:off x="4960044" y="4201664"/>
            <a:ext cx="0" cy="200960"/>
          </a:xfrm>
          <a:prstGeom prst="line">
            <a:avLst/>
          </a:prstGeom>
          <a:ln w="19050">
            <a:solidFill>
              <a:srgbClr val="006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Geschweifte Klammer rechts 68">
            <a:extLst>
              <a:ext uri="{FF2B5EF4-FFF2-40B4-BE49-F238E27FC236}">
                <a16:creationId xmlns:a16="http://schemas.microsoft.com/office/drawing/2014/main" id="{D56BB758-9DD6-235F-643D-BC4715D9B055}"/>
              </a:ext>
            </a:extLst>
          </p:cNvPr>
          <p:cNvSpPr/>
          <p:nvPr/>
        </p:nvSpPr>
        <p:spPr>
          <a:xfrm rot="10800000">
            <a:off x="2953004" y="5059552"/>
            <a:ext cx="255588" cy="1117600"/>
          </a:xfrm>
          <a:prstGeom prst="rightBrace">
            <a:avLst>
              <a:gd name="adj1" fmla="val 53278"/>
              <a:gd name="adj2" fmla="val 50000"/>
            </a:avLst>
          </a:prstGeom>
          <a:ln w="19050">
            <a:solidFill>
              <a:srgbClr val="006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" name="Gerade Verbindung 33">
            <a:extLst>
              <a:ext uri="{FF2B5EF4-FFF2-40B4-BE49-F238E27FC236}">
                <a16:creationId xmlns:a16="http://schemas.microsoft.com/office/drawing/2014/main" id="{2767885D-D2B4-D52C-5D09-5FFD09EB42F1}"/>
              </a:ext>
            </a:extLst>
          </p:cNvPr>
          <p:cNvCxnSpPr>
            <a:cxnSpLocks/>
          </p:cNvCxnSpPr>
          <p:nvPr/>
        </p:nvCxnSpPr>
        <p:spPr>
          <a:xfrm flipH="1">
            <a:off x="3203997" y="6178191"/>
            <a:ext cx="2470662" cy="0"/>
          </a:xfrm>
          <a:prstGeom prst="line">
            <a:avLst/>
          </a:prstGeom>
          <a:ln w="19050">
            <a:solidFill>
              <a:srgbClr val="006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36">
            <a:extLst>
              <a:ext uri="{FF2B5EF4-FFF2-40B4-BE49-F238E27FC236}">
                <a16:creationId xmlns:a16="http://schemas.microsoft.com/office/drawing/2014/main" id="{2A8AD314-CDD5-13A1-B711-E3AFDF9A7BA3}"/>
              </a:ext>
            </a:extLst>
          </p:cNvPr>
          <p:cNvCxnSpPr>
            <a:cxnSpLocks/>
          </p:cNvCxnSpPr>
          <p:nvPr/>
        </p:nvCxnSpPr>
        <p:spPr>
          <a:xfrm flipH="1">
            <a:off x="4032478" y="4208154"/>
            <a:ext cx="927567" cy="4352"/>
          </a:xfrm>
          <a:prstGeom prst="line">
            <a:avLst/>
          </a:prstGeom>
          <a:ln w="19050">
            <a:solidFill>
              <a:srgbClr val="006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8">
            <a:extLst>
              <a:ext uri="{FF2B5EF4-FFF2-40B4-BE49-F238E27FC236}">
                <a16:creationId xmlns:a16="http://schemas.microsoft.com/office/drawing/2014/main" id="{DDFF1F27-E6D7-DA00-2788-3D3F75394DB3}"/>
              </a:ext>
            </a:extLst>
          </p:cNvPr>
          <p:cNvCxnSpPr>
            <a:cxnSpLocks/>
          </p:cNvCxnSpPr>
          <p:nvPr/>
        </p:nvCxnSpPr>
        <p:spPr>
          <a:xfrm flipV="1">
            <a:off x="5674659" y="5336926"/>
            <a:ext cx="0" cy="840226"/>
          </a:xfrm>
          <a:prstGeom prst="line">
            <a:avLst/>
          </a:prstGeom>
          <a:ln w="19050">
            <a:solidFill>
              <a:srgbClr val="006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feld 70">
            <a:extLst>
              <a:ext uri="{FF2B5EF4-FFF2-40B4-BE49-F238E27FC236}">
                <a16:creationId xmlns:a16="http://schemas.microsoft.com/office/drawing/2014/main" id="{56CC1CFE-6257-F48F-B33C-0550F5778DBD}"/>
              </a:ext>
            </a:extLst>
          </p:cNvPr>
          <p:cNvSpPr txBox="1"/>
          <p:nvPr/>
        </p:nvSpPr>
        <p:spPr>
          <a:xfrm>
            <a:off x="609085" y="5019621"/>
            <a:ext cx="258675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ach of these </a:t>
            </a: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n-US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irports has </a:t>
            </a:r>
            <a:r>
              <a:rPr lang="en-US" b="1" dirty="0">
                <a:solidFill>
                  <a:srgbClr val="000000"/>
                </a:solidFill>
                <a:latin typeface="Arial" panose="020B0604020202020204"/>
              </a:rPr>
              <a:t>&lt;</a:t>
            </a:r>
            <a:r>
              <a:rPr kumimoji="0" lang="en-US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2% </a:t>
            </a:r>
            <a:r>
              <a:rPr kumimoji="0" lang="en-US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 total IFR flights by all 35 airports</a:t>
            </a:r>
          </a:p>
        </p:txBody>
      </p:sp>
      <p:cxnSp>
        <p:nvCxnSpPr>
          <p:cNvPr id="62" name="Gerade Verbindung 38">
            <a:extLst>
              <a:ext uri="{FF2B5EF4-FFF2-40B4-BE49-F238E27FC236}">
                <a16:creationId xmlns:a16="http://schemas.microsoft.com/office/drawing/2014/main" id="{E3174EE7-958F-56B3-298B-DEE090BD9D88}"/>
              </a:ext>
            </a:extLst>
          </p:cNvPr>
          <p:cNvCxnSpPr>
            <a:cxnSpLocks/>
          </p:cNvCxnSpPr>
          <p:nvPr/>
        </p:nvCxnSpPr>
        <p:spPr>
          <a:xfrm flipH="1" flipV="1">
            <a:off x="4032478" y="4212506"/>
            <a:ext cx="1" cy="849428"/>
          </a:xfrm>
          <a:prstGeom prst="line">
            <a:avLst/>
          </a:prstGeom>
          <a:ln w="19050">
            <a:solidFill>
              <a:srgbClr val="006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33">
            <a:extLst>
              <a:ext uri="{FF2B5EF4-FFF2-40B4-BE49-F238E27FC236}">
                <a16:creationId xmlns:a16="http://schemas.microsoft.com/office/drawing/2014/main" id="{2BC0CAAA-9145-68FF-4FCB-A46CA46E4D59}"/>
              </a:ext>
            </a:extLst>
          </p:cNvPr>
          <p:cNvCxnSpPr>
            <a:cxnSpLocks/>
          </p:cNvCxnSpPr>
          <p:nvPr/>
        </p:nvCxnSpPr>
        <p:spPr>
          <a:xfrm flipH="1">
            <a:off x="3203997" y="5056290"/>
            <a:ext cx="828482" cy="0"/>
          </a:xfrm>
          <a:prstGeom prst="line">
            <a:avLst/>
          </a:prstGeom>
          <a:ln w="19050">
            <a:solidFill>
              <a:srgbClr val="006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8866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27" grpId="0"/>
      <p:bldP spid="28" grpId="0"/>
      <p:bldP spid="29" grpId="0"/>
      <p:bldP spid="91" grpId="0"/>
      <p:bldP spid="48" grpId="0"/>
      <p:bldP spid="52" grpId="0"/>
      <p:bldP spid="54" grpId="0"/>
      <p:bldP spid="63" grpId="0"/>
      <p:bldP spid="63" grpId="1"/>
      <p:bldP spid="69" grpId="0" animBg="1"/>
      <p:bldP spid="69" grpId="1" animBg="1"/>
      <p:bldP spid="70" grpId="0"/>
      <p:bldP spid="70" grpId="1"/>
      <p:bldP spid="71" grpId="0"/>
      <p:bldP spid="71" grpId="1"/>
      <p:bldP spid="98" grpId="0"/>
      <p:bldP spid="3" grpId="0" animBg="1"/>
      <p:bldP spid="53" grpId="0"/>
      <p:bldP spid="53" grpId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8709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Characteristics of Regional Cargo UAS</a:t>
            </a:r>
            <a:br>
              <a:rPr lang="en-US" sz="2400" dirty="0"/>
            </a:br>
            <a:r>
              <a:rPr lang="en-US" sz="2400" dirty="0"/>
              <a:t>Identifying Potential UAS Airpor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3175B890-D060-2173-00E9-DB43887A5172}"/>
              </a:ext>
            </a:extLst>
          </p:cNvPr>
          <p:cNvSpPr txBox="1">
            <a:spLocks/>
          </p:cNvSpPr>
          <p:nvPr/>
        </p:nvSpPr>
        <p:spPr>
          <a:xfrm>
            <a:off x="807719" y="1335043"/>
            <a:ext cx="10363383" cy="22439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rgbClr val="00658B"/>
                </a:solidFill>
                <a:latin typeface="+mn-lt"/>
              </a:rPr>
              <a:t>Why &lt;2.2% baseline?</a:t>
            </a:r>
          </a:p>
          <a:p>
            <a:pPr lvl="1"/>
            <a:r>
              <a:rPr lang="en-US" sz="1800" dirty="0">
                <a:latin typeface="+mn-lt"/>
              </a:rPr>
              <a:t>Include </a:t>
            </a:r>
            <a:r>
              <a:rPr lang="en-US" sz="1800" b="1" dirty="0">
                <a:latin typeface="+mn-lt"/>
              </a:rPr>
              <a:t>less busy towered </a:t>
            </a:r>
            <a:r>
              <a:rPr lang="en-US" sz="1800" dirty="0">
                <a:latin typeface="+mn-lt"/>
              </a:rPr>
              <a:t>airports</a:t>
            </a:r>
          </a:p>
          <a:p>
            <a:pPr lvl="1"/>
            <a:r>
              <a:rPr lang="en-US" sz="1800" dirty="0">
                <a:latin typeface="+mn-lt"/>
              </a:rPr>
              <a:t>Most likely for </a:t>
            </a:r>
            <a:r>
              <a:rPr lang="en-US" sz="1800" b="1" dirty="0">
                <a:latin typeface="+mn-lt"/>
              </a:rPr>
              <a:t>initial</a:t>
            </a:r>
            <a:r>
              <a:rPr lang="en-US" sz="1800" dirty="0">
                <a:latin typeface="+mn-lt"/>
              </a:rPr>
              <a:t> UAS operations</a:t>
            </a:r>
            <a:endParaRPr lang="en-US" dirty="0">
              <a:latin typeface="+mn-lt"/>
            </a:endParaRPr>
          </a:p>
          <a:p>
            <a:pPr marL="0" indent="0">
              <a:buNone/>
            </a:pPr>
            <a:r>
              <a:rPr lang="en-US" sz="1800" b="1" dirty="0">
                <a:solidFill>
                  <a:srgbClr val="00658B"/>
                </a:solidFill>
                <a:latin typeface="+mn-lt"/>
              </a:rPr>
              <a:t>Definition of “Potential UAS airports”</a:t>
            </a:r>
          </a:p>
          <a:p>
            <a:pPr lvl="1"/>
            <a:r>
              <a:rPr lang="en-US" sz="1800" b="1" dirty="0">
                <a:solidFill>
                  <a:srgbClr val="000000"/>
                </a:solidFill>
                <a:latin typeface="+mn-lt"/>
              </a:rPr>
              <a:t>Public towered airports </a:t>
            </a:r>
            <a:r>
              <a:rPr lang="en-US" sz="1800" dirty="0">
                <a:solidFill>
                  <a:srgbClr val="000000"/>
                </a:solidFill>
                <a:latin typeface="+mn-lt"/>
              </a:rPr>
              <a:t>with annual </a:t>
            </a:r>
            <a:r>
              <a:rPr lang="en-US" sz="1800" b="1" dirty="0">
                <a:solidFill>
                  <a:srgbClr val="000000"/>
                </a:solidFill>
                <a:latin typeface="+mn-lt"/>
              </a:rPr>
              <a:t>IFR flight </a:t>
            </a:r>
            <a:r>
              <a:rPr lang="en-US" sz="1800" dirty="0">
                <a:solidFill>
                  <a:srgbClr val="000000"/>
                </a:solidFill>
                <a:latin typeface="+mn-lt"/>
              </a:rPr>
              <a:t>percentages </a:t>
            </a:r>
            <a:r>
              <a:rPr lang="en-US" sz="1800" b="1" dirty="0">
                <a:solidFill>
                  <a:srgbClr val="000000"/>
                </a:solidFill>
                <a:latin typeface="+mn-lt"/>
              </a:rPr>
              <a:t>under 2.2%</a:t>
            </a:r>
          </a:p>
          <a:p>
            <a:pPr lvl="1"/>
            <a:r>
              <a:rPr lang="en-US" sz="1800" b="1" dirty="0">
                <a:latin typeface="+mn-lt"/>
              </a:rPr>
              <a:t>Public non-towered airports</a:t>
            </a: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819EBBAF-E860-0193-1E1C-682B492FD0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9516443"/>
              </p:ext>
            </p:extLst>
          </p:nvPr>
        </p:nvGraphicFramePr>
        <p:xfrm>
          <a:off x="807720" y="3579011"/>
          <a:ext cx="10363382" cy="23343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98720">
                  <a:extLst>
                    <a:ext uri="{9D8B030D-6E8A-4147-A177-3AD203B41FA5}">
                      <a16:colId xmlns:a16="http://schemas.microsoft.com/office/drawing/2014/main" val="3600696770"/>
                    </a:ext>
                  </a:extLst>
                </a:gridCol>
                <a:gridCol w="1927860">
                  <a:extLst>
                    <a:ext uri="{9D8B030D-6E8A-4147-A177-3AD203B41FA5}">
                      <a16:colId xmlns:a16="http://schemas.microsoft.com/office/drawing/2014/main" val="1151512134"/>
                    </a:ext>
                  </a:extLst>
                </a:gridCol>
                <a:gridCol w="1775460">
                  <a:extLst>
                    <a:ext uri="{9D8B030D-6E8A-4147-A177-3AD203B41FA5}">
                      <a16:colId xmlns:a16="http://schemas.microsoft.com/office/drawing/2014/main" val="138398027"/>
                    </a:ext>
                  </a:extLst>
                </a:gridCol>
                <a:gridCol w="1661342">
                  <a:extLst>
                    <a:ext uri="{9D8B030D-6E8A-4147-A177-3AD203B41FA5}">
                      <a16:colId xmlns:a16="http://schemas.microsoft.com/office/drawing/2014/main" val="1809792638"/>
                    </a:ext>
                  </a:extLst>
                </a:gridCol>
              </a:tblGrid>
              <a:tr h="778107">
                <a:tc>
                  <a:txBody>
                    <a:bodyPr/>
                    <a:lstStyle/>
                    <a:p>
                      <a:pPr algn="ctr"/>
                      <a:endParaRPr lang="en-US" sz="1800" noProof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3FB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ermany</a:t>
                      </a:r>
                      <a:endParaRPr lang="en-US" sz="1800" b="1" i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xas</a:t>
                      </a:r>
                      <a:endParaRPr lang="en-US" sz="1800" b="1" i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lifornia</a:t>
                      </a:r>
                      <a:endParaRPr lang="en-US" sz="1800" b="1" i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9566948"/>
                  </a:ext>
                </a:extLst>
              </a:tr>
              <a:tr h="778107">
                <a:tc>
                  <a:txBody>
                    <a:bodyPr/>
                    <a:lstStyle/>
                    <a:p>
                      <a:pPr algn="l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tential UAS airports</a:t>
                      </a:r>
                      <a:endParaRPr lang="en-US" sz="1800" b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noProof="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22 towered</a:t>
                      </a:r>
                    </a:p>
                    <a:p>
                      <a:pPr algn="r"/>
                      <a:r>
                        <a:rPr lang="en-US" sz="1800" b="0" noProof="0" dirty="0">
                          <a:effectLst/>
                          <a:latin typeface="+mn-lt"/>
                        </a:rPr>
                        <a:t>(Total 173)</a:t>
                      </a:r>
                      <a:endParaRPr lang="en-US" sz="1800" b="0" noProof="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0 towered</a:t>
                      </a:r>
                      <a:endParaRPr lang="en-US" sz="1800" b="1" noProof="0" dirty="0">
                        <a:effectLst/>
                        <a:latin typeface="+mn-lt"/>
                      </a:endParaRPr>
                    </a:p>
                    <a:p>
                      <a:pPr algn="r"/>
                      <a:r>
                        <a:rPr lang="en-US" sz="1800" b="0" noProof="0" dirty="0">
                          <a:effectLst/>
                          <a:latin typeface="+mn-lt"/>
                        </a:rPr>
                        <a:t>(Total 376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4 towered</a:t>
                      </a:r>
                      <a:endParaRPr lang="en-US" sz="1800" b="1" noProof="0" dirty="0">
                        <a:effectLst/>
                        <a:latin typeface="+mn-lt"/>
                      </a:endParaRPr>
                    </a:p>
                    <a:p>
                      <a:pPr algn="r"/>
                      <a:r>
                        <a:rPr lang="en-US" sz="1800" b="0" noProof="0" dirty="0">
                          <a:effectLst/>
                          <a:latin typeface="+mn-lt"/>
                        </a:rPr>
                        <a:t>(Total 231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3558463"/>
                  </a:ext>
                </a:extLst>
              </a:tr>
              <a:tr h="7781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>
                          <a:solidFill>
                            <a:srgbClr val="00658B"/>
                          </a:solidFill>
                          <a:effectLst/>
                          <a:latin typeface="+mn-lt"/>
                          <a:ea typeface="SimSun" panose="02010600030101010101" pitchFamily="2" charset="-122"/>
                        </a:rPr>
                        <a:t>Potential UAS airports: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noProof="0" dirty="0">
                          <a:solidFill>
                            <a:srgbClr val="00658B"/>
                          </a:solidFill>
                          <a:effectLst/>
                          <a:latin typeface="+mn-lt"/>
                          <a:ea typeface="SimSun" panose="02010600030101010101" pitchFamily="2" charset="-122"/>
                        </a:rPr>
                        <a:t>Share of total IFR flights at towered airports</a:t>
                      </a:r>
                      <a:endParaRPr lang="en-US" sz="1800" b="1" noProof="0" dirty="0">
                        <a:solidFill>
                          <a:srgbClr val="00658B"/>
                        </a:solidFill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E7EBE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noProof="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12.3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noProof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7.5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noProof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1.3%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1549734"/>
                  </a:ext>
                </a:extLst>
              </a:tr>
            </a:tbl>
          </a:graphicData>
        </a:graphic>
      </p:graphicFrame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89202DBF-DD91-D2A1-EEC0-D458F52EDF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9419341"/>
              </p:ext>
            </p:extLst>
          </p:nvPr>
        </p:nvGraphicFramePr>
        <p:xfrm>
          <a:off x="5104852" y="3047767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140779255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solidFill>
                        <a:srgbClr val="F3FBFF"/>
                      </a:solidFill>
                      <a:prstDash val="solid"/>
                    </a:lnL>
                    <a:lnR w="12700" cmpd="sng">
                      <a:solidFill>
                        <a:srgbClr val="F3FBFF"/>
                      </a:solidFill>
                      <a:prstDash val="solid"/>
                    </a:lnR>
                    <a:lnT w="12700" cmpd="sng">
                      <a:solidFill>
                        <a:srgbClr val="F3FBFF"/>
                      </a:solidFill>
                      <a:prstDash val="solid"/>
                    </a:lnT>
                    <a:lnB w="12700" cmpd="sng">
                      <a:solidFill>
                        <a:srgbClr val="F3FB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8398146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E6C3D967-520E-34FA-E8A0-650C789BA9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879068"/>
              </p:ext>
            </p:extLst>
          </p:nvPr>
        </p:nvGraphicFramePr>
        <p:xfrm>
          <a:off x="565744" y="3310904"/>
          <a:ext cx="611793" cy="365760"/>
        </p:xfrm>
        <a:graphic>
          <a:graphicData uri="http://schemas.openxmlformats.org/drawingml/2006/table">
            <a:tbl>
              <a:tblPr/>
              <a:tblGrid>
                <a:gridCol w="611793">
                  <a:extLst>
                    <a:ext uri="{9D8B030D-6E8A-4147-A177-3AD203B41FA5}">
                      <a16:colId xmlns:a16="http://schemas.microsoft.com/office/drawing/2014/main" val="2929862142"/>
                    </a:ext>
                  </a:extLst>
                </a:gridCol>
              </a:tblGrid>
              <a:tr h="11841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mpd="sng">
                      <a:solidFill>
                        <a:srgbClr val="F3FBFF"/>
                      </a:solidFill>
                      <a:prstDash val="solid"/>
                    </a:lnL>
                    <a:lnR w="12700" cmpd="sng">
                      <a:solidFill>
                        <a:srgbClr val="F3FBFF"/>
                      </a:solidFill>
                      <a:prstDash val="solid"/>
                    </a:lnR>
                    <a:lnT w="12700" cmpd="sng">
                      <a:solidFill>
                        <a:srgbClr val="F3FBFF"/>
                      </a:solidFill>
                      <a:prstDash val="solid"/>
                    </a:lnT>
                    <a:lnB w="12700" cmpd="sng">
                      <a:solidFill>
                        <a:srgbClr val="F3FB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29828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9461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4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6912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Characteristics of Regional Cargo UAS</a:t>
            </a:r>
            <a:br>
              <a:rPr lang="en-US" sz="2400" dirty="0"/>
            </a:br>
            <a:r>
              <a:rPr lang="en-US" sz="2400" dirty="0"/>
              <a:t>Landing Systems / Instrument Approach Proced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3175B890-D060-2173-00E9-DB43887A5172}"/>
              </a:ext>
            </a:extLst>
          </p:cNvPr>
          <p:cNvSpPr txBox="1">
            <a:spLocks/>
          </p:cNvSpPr>
          <p:nvPr/>
        </p:nvSpPr>
        <p:spPr>
          <a:xfrm>
            <a:off x="695326" y="1318660"/>
            <a:ext cx="11311617" cy="48737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solidFill>
                  <a:srgbClr val="00658B"/>
                </a:solidFill>
                <a:latin typeface="+mn-lt"/>
              </a:rPr>
              <a:t>What landing systems are needed?</a:t>
            </a:r>
          </a:p>
          <a:p>
            <a:pPr lvl="1"/>
            <a:r>
              <a:rPr lang="en-US" b="1" dirty="0">
                <a:latin typeface="+mn-lt"/>
              </a:rPr>
              <a:t>RTCA DO-304A</a:t>
            </a:r>
            <a:r>
              <a:rPr lang="en-US" dirty="0">
                <a:latin typeface="+mn-lt"/>
              </a:rPr>
              <a:t> highlights the need for </a:t>
            </a:r>
            <a:r>
              <a:rPr lang="en-US" b="1" dirty="0">
                <a:latin typeface="+mn-lt"/>
              </a:rPr>
              <a:t>automatic landing systems </a:t>
            </a:r>
            <a:r>
              <a:rPr lang="en-US" dirty="0">
                <a:latin typeface="+mn-lt"/>
              </a:rPr>
              <a:t>for UAS</a:t>
            </a:r>
          </a:p>
          <a:p>
            <a:pPr lvl="1"/>
            <a:r>
              <a:rPr lang="en-US" dirty="0">
                <a:latin typeface="+mn-lt"/>
              </a:rPr>
              <a:t>Instrument Landing System Category III (</a:t>
            </a:r>
            <a:r>
              <a:rPr lang="en-US" b="1" dirty="0">
                <a:latin typeface="+mn-lt"/>
              </a:rPr>
              <a:t>ILS CAT III</a:t>
            </a:r>
            <a:r>
              <a:rPr lang="en-US" dirty="0">
                <a:latin typeface="+mn-lt"/>
              </a:rPr>
              <a:t>)</a:t>
            </a:r>
            <a:r>
              <a:rPr lang="en-US" b="1" dirty="0">
                <a:latin typeface="+mn-lt"/>
              </a:rPr>
              <a:t> </a:t>
            </a:r>
            <a:r>
              <a:rPr lang="en-US" dirty="0">
                <a:latin typeface="+mn-lt"/>
              </a:rPr>
              <a:t>is the </a:t>
            </a:r>
            <a:r>
              <a:rPr lang="en-US" b="1" dirty="0">
                <a:latin typeface="+mn-lt"/>
              </a:rPr>
              <a:t>only</a:t>
            </a:r>
            <a:r>
              <a:rPr lang="en-US" dirty="0">
                <a:latin typeface="+mn-lt"/>
              </a:rPr>
              <a:t> </a:t>
            </a:r>
            <a:r>
              <a:rPr lang="en-US" b="1" dirty="0">
                <a:latin typeface="+mn-lt"/>
              </a:rPr>
              <a:t>currently certified</a:t>
            </a:r>
            <a:r>
              <a:rPr lang="en-US" dirty="0">
                <a:latin typeface="+mn-lt"/>
              </a:rPr>
              <a:t> system to enable </a:t>
            </a:r>
            <a:r>
              <a:rPr lang="en-US" b="1" dirty="0" err="1">
                <a:latin typeface="+mn-lt"/>
              </a:rPr>
              <a:t>autoland</a:t>
            </a:r>
            <a:r>
              <a:rPr lang="en-US" b="1" dirty="0">
                <a:latin typeface="+mn-lt"/>
              </a:rPr>
              <a:t> for </a:t>
            </a:r>
            <a:r>
              <a:rPr lang="en-US" b="1" u="sng" dirty="0">
                <a:latin typeface="+mn-lt"/>
              </a:rPr>
              <a:t>crewed</a:t>
            </a:r>
            <a:r>
              <a:rPr lang="en-US" b="1" dirty="0">
                <a:latin typeface="+mn-lt"/>
              </a:rPr>
              <a:t> aircraft</a:t>
            </a:r>
          </a:p>
          <a:p>
            <a:pPr lvl="1"/>
            <a:r>
              <a:rPr lang="en-US" dirty="0">
                <a:latin typeface="+mn-lt"/>
              </a:rPr>
              <a:t>Ground Based Augmentation System Landing System </a:t>
            </a:r>
            <a:r>
              <a:rPr lang="en-US" dirty="0"/>
              <a:t>(</a:t>
            </a:r>
            <a:r>
              <a:rPr lang="en-US" b="1" dirty="0"/>
              <a:t>GLS</a:t>
            </a:r>
            <a:r>
              <a:rPr lang="en-US" dirty="0"/>
              <a:t>) </a:t>
            </a:r>
            <a:r>
              <a:rPr lang="en-US" dirty="0">
                <a:latin typeface="+mn-lt"/>
              </a:rPr>
              <a:t>CAT I/II available and more likely to be upgraded to CAT III to enable </a:t>
            </a:r>
            <a:r>
              <a:rPr lang="en-US" dirty="0" err="1">
                <a:latin typeface="+mn-lt"/>
              </a:rPr>
              <a:t>autoland</a:t>
            </a:r>
            <a:r>
              <a:rPr lang="en-US" dirty="0">
                <a:latin typeface="+mn-lt"/>
              </a:rPr>
              <a:t> in the future than existing ILS CAT I/II</a:t>
            </a:r>
            <a:endParaRPr lang="en-US" sz="2000" dirty="0">
              <a:latin typeface="+mn-lt"/>
            </a:endParaRPr>
          </a:p>
          <a:p>
            <a:pPr lvl="1"/>
            <a:r>
              <a:rPr lang="en-US" dirty="0">
                <a:solidFill>
                  <a:srgbClr val="000000"/>
                </a:solidFill>
              </a:rPr>
              <a:t>Current certified Instrument Approach Procedures with a comparatively high chance to enable UAS operations are called </a:t>
            </a:r>
            <a:r>
              <a:rPr lang="en-US" b="1" dirty="0">
                <a:solidFill>
                  <a:srgbClr val="000000"/>
                </a:solidFill>
              </a:rPr>
              <a:t>UAS IAP</a:t>
            </a:r>
            <a:r>
              <a:rPr lang="en-US" dirty="0">
                <a:solidFill>
                  <a:srgbClr val="000000"/>
                </a:solidFill>
              </a:rPr>
              <a:t> in this research (i.e., ILS CAT III and GLS)</a:t>
            </a:r>
          </a:p>
          <a:p>
            <a:pPr lvl="1"/>
            <a:r>
              <a:rPr lang="en-US" dirty="0">
                <a:solidFill>
                  <a:srgbClr val="000000"/>
                </a:solidFill>
              </a:rPr>
              <a:t>UAS IAP could include other certified landing systems in the future </a:t>
            </a:r>
            <a:endParaRPr lang="en-US" strike="sngStrike" dirty="0">
              <a:solidFill>
                <a:srgbClr val="000000"/>
              </a:solidFill>
            </a:endParaRP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ABEFED78-5795-AB24-AC30-95F6779FBC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4603516"/>
              </p:ext>
            </p:extLst>
          </p:nvPr>
        </p:nvGraphicFramePr>
        <p:xfrm>
          <a:off x="1240243" y="4613644"/>
          <a:ext cx="9178110" cy="12003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29602">
                  <a:extLst>
                    <a:ext uri="{9D8B030D-6E8A-4147-A177-3AD203B41FA5}">
                      <a16:colId xmlns:a16="http://schemas.microsoft.com/office/drawing/2014/main" val="3600696770"/>
                    </a:ext>
                  </a:extLst>
                </a:gridCol>
                <a:gridCol w="1788212">
                  <a:extLst>
                    <a:ext uri="{9D8B030D-6E8A-4147-A177-3AD203B41FA5}">
                      <a16:colId xmlns:a16="http://schemas.microsoft.com/office/drawing/2014/main" val="1151512134"/>
                    </a:ext>
                  </a:extLst>
                </a:gridCol>
                <a:gridCol w="1816415">
                  <a:extLst>
                    <a:ext uri="{9D8B030D-6E8A-4147-A177-3AD203B41FA5}">
                      <a16:colId xmlns:a16="http://schemas.microsoft.com/office/drawing/2014/main" val="138398027"/>
                    </a:ext>
                  </a:extLst>
                </a:gridCol>
                <a:gridCol w="1943881">
                  <a:extLst>
                    <a:ext uri="{9D8B030D-6E8A-4147-A177-3AD203B41FA5}">
                      <a16:colId xmlns:a16="http://schemas.microsoft.com/office/drawing/2014/main" val="1809792638"/>
                    </a:ext>
                  </a:extLst>
                </a:gridCol>
              </a:tblGrid>
              <a:tr h="533545">
                <a:tc>
                  <a:txBody>
                    <a:bodyPr/>
                    <a:lstStyle/>
                    <a:p>
                      <a:pPr algn="ctr"/>
                      <a:endParaRPr lang="en-US" sz="1800" b="0" noProof="0" dirty="0">
                        <a:solidFill>
                          <a:srgbClr val="00658B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ermany</a:t>
                      </a:r>
                      <a:endParaRPr lang="en-US" sz="1800" b="1" i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xas</a:t>
                      </a:r>
                      <a:endParaRPr lang="en-US" sz="1800" b="1" i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lifornia</a:t>
                      </a:r>
                      <a:endParaRPr lang="en-US" sz="1800" b="1" i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9566948"/>
                  </a:ext>
                </a:extLst>
              </a:tr>
              <a:tr h="66678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noProof="0" dirty="0">
                          <a:solidFill>
                            <a:srgbClr val="00658B"/>
                          </a:solidFill>
                          <a:effectLst/>
                          <a:latin typeface="+mn-lt"/>
                          <a:ea typeface="SimSun" panose="02010600030101010101" pitchFamily="2" charset="-122"/>
                        </a:rPr>
                        <a:t>Total potential UAS airports 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>
                          <a:solidFill>
                            <a:srgbClr val="00658B"/>
                          </a:solidFill>
                          <a:effectLst/>
                          <a:latin typeface="+mn-lt"/>
                          <a:ea typeface="SimSun" panose="02010600030101010101" pitchFamily="2" charset="-122"/>
                        </a:rPr>
                        <a:t>with any UAS IAP</a:t>
                      </a:r>
                      <a:endParaRPr lang="en-US" sz="1800" b="0" noProof="0" dirty="0">
                        <a:solidFill>
                          <a:srgbClr val="00658B"/>
                        </a:solidFill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E7EBE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noProof="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9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noProof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noProof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15497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3510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Introduction and Background</a:t>
            </a:r>
            <a:endParaRPr lang="en-US" dirty="0">
              <a:solidFill>
                <a:schemeClr val="accent6"/>
              </a:solidFill>
            </a:endParaRP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</a:rPr>
              <a:t>Scope and Research Ques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</a:rPr>
              <a:t>Accessibility Characteristics of Regional Cargo UAS Opera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/>
              <a:t>Accessibility Potential of Regional Cargo UAS Opera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onclusions and </a:t>
            </a:r>
            <a:r>
              <a:rPr lang="en-US" dirty="0">
                <a:solidFill>
                  <a:schemeClr val="accent6"/>
                </a:solidFill>
              </a:rPr>
              <a:t>F</a:t>
            </a: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uture Work</a:t>
            </a:r>
          </a:p>
          <a:p>
            <a:endParaRPr lang="en-US" sz="28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3629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8179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Potential of Regional Cargo UAS</a:t>
            </a:r>
            <a:br>
              <a:rPr lang="en-US" sz="2400" dirty="0"/>
            </a:br>
            <a:r>
              <a:rPr lang="en-US" sz="2400" dirty="0"/>
              <a:t>Potential UAS Airports – Country/St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1060380-B0B6-20C8-096E-DBDFC0312A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945318"/>
              </p:ext>
            </p:extLst>
          </p:nvPr>
        </p:nvGraphicFramePr>
        <p:xfrm>
          <a:off x="819380" y="1554648"/>
          <a:ext cx="10298200" cy="27582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34847">
                  <a:extLst>
                    <a:ext uri="{9D8B030D-6E8A-4147-A177-3AD203B41FA5}">
                      <a16:colId xmlns:a16="http://schemas.microsoft.com/office/drawing/2014/main" val="3669530605"/>
                    </a:ext>
                  </a:extLst>
                </a:gridCol>
                <a:gridCol w="1350033">
                  <a:extLst>
                    <a:ext uri="{9D8B030D-6E8A-4147-A177-3AD203B41FA5}">
                      <a16:colId xmlns:a16="http://schemas.microsoft.com/office/drawing/2014/main" val="231192948"/>
                    </a:ext>
                  </a:extLst>
                </a:gridCol>
                <a:gridCol w="1470660">
                  <a:extLst>
                    <a:ext uri="{9D8B030D-6E8A-4147-A177-3AD203B41FA5}">
                      <a16:colId xmlns:a16="http://schemas.microsoft.com/office/drawing/2014/main" val="2990625335"/>
                    </a:ext>
                  </a:extLst>
                </a:gridCol>
                <a:gridCol w="1440180">
                  <a:extLst>
                    <a:ext uri="{9D8B030D-6E8A-4147-A177-3AD203B41FA5}">
                      <a16:colId xmlns:a16="http://schemas.microsoft.com/office/drawing/2014/main" val="2226212512"/>
                    </a:ext>
                  </a:extLst>
                </a:gridCol>
                <a:gridCol w="1493520">
                  <a:extLst>
                    <a:ext uri="{9D8B030D-6E8A-4147-A177-3AD203B41FA5}">
                      <a16:colId xmlns:a16="http://schemas.microsoft.com/office/drawing/2014/main" val="171756337"/>
                    </a:ext>
                  </a:extLst>
                </a:gridCol>
                <a:gridCol w="1562100">
                  <a:extLst>
                    <a:ext uri="{9D8B030D-6E8A-4147-A177-3AD203B41FA5}">
                      <a16:colId xmlns:a16="http://schemas.microsoft.com/office/drawing/2014/main" val="4211460327"/>
                    </a:ext>
                  </a:extLst>
                </a:gridCol>
                <a:gridCol w="1546860">
                  <a:extLst>
                    <a:ext uri="{9D8B030D-6E8A-4147-A177-3AD203B41FA5}">
                      <a16:colId xmlns:a16="http://schemas.microsoft.com/office/drawing/2014/main" val="540774426"/>
                    </a:ext>
                  </a:extLst>
                </a:gridCol>
              </a:tblGrid>
              <a:tr h="258084">
                <a:tc rowSpan="2">
                  <a:txBody>
                    <a:bodyPr/>
                    <a:lstStyle/>
                    <a:p>
                      <a:pPr algn="ctr" hangingPunct="0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Airspace classes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Count of potential UAS airports</a:t>
                      </a:r>
                      <a:endParaRPr lang="de-DE" sz="1400" b="1" i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5446080"/>
                  </a:ext>
                </a:extLst>
              </a:tr>
              <a:tr h="25808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</a:rPr>
                        <a:t>Germany</a:t>
                      </a:r>
                      <a:endParaRPr lang="de-DE" sz="1400" b="1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/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</a:rPr>
                        <a:t>Texas</a:t>
                      </a:r>
                      <a:endParaRPr lang="de-DE" sz="1400" b="1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California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95142"/>
                  </a:ext>
                </a:extLst>
              </a:tr>
              <a:tr h="28343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All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effectLst/>
                        </a:rPr>
                        <a:t>173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/>
                      <a:r>
                        <a:rPr lang="en-US" sz="1400" b="0" dirty="0">
                          <a:effectLst/>
                        </a:rPr>
                        <a:t>376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/>
                      <a:r>
                        <a:rPr lang="en-US" sz="1400" b="0" dirty="0">
                          <a:effectLst/>
                        </a:rPr>
                        <a:t>231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141674"/>
                  </a:ext>
                </a:extLst>
              </a:tr>
              <a:tr h="25808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>
                          <a:effectLst/>
                        </a:rPr>
                        <a:t>24 ILS /GLS</a:t>
                      </a:r>
                      <a:endParaRPr lang="de-DE" sz="1400" b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effectLst/>
                        </a:rPr>
                        <a:t>9 UAS IAP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b="0" dirty="0">
                          <a:effectLst/>
                        </a:rPr>
                        <a:t>36 ILS /GLS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b="0" dirty="0">
                          <a:effectLst/>
                        </a:rPr>
                        <a:t>1 UAS IAP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b="0" dirty="0">
                          <a:effectLst/>
                        </a:rPr>
                        <a:t>36 ILS /GLS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b="0" dirty="0">
                          <a:effectLst/>
                        </a:rPr>
                        <a:t>1 UAS IAP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52153478"/>
                  </a:ext>
                </a:extLst>
              </a:tr>
              <a:tr h="283431">
                <a:tc rowSpan="2"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C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 rowSpan="2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/>
                      <a:r>
                        <a:rPr lang="en-US" sz="1400">
                          <a:effectLst/>
                        </a:rPr>
                        <a:t>6 towered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/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3 towered</a:t>
                      </a:r>
                      <a:endParaRPr lang="de-DE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1656634"/>
                  </a:ext>
                </a:extLst>
              </a:tr>
              <a:tr h="283431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effectLst/>
                        </a:rPr>
                        <a:t>6 ILS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effectLst/>
                        </a:rPr>
                        <a:t>0 UAS IAP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3 ILS</a:t>
                      </a:r>
                      <a:endParaRPr lang="de-DE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1 UAS IAP</a:t>
                      </a:r>
                      <a:endParaRPr lang="de-DE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600999"/>
                  </a:ext>
                </a:extLst>
              </a:tr>
              <a:tr h="283431">
                <a:tc rowSpan="2"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D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</a:rPr>
                        <a:t>22 towered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/>
                      <a:r>
                        <a:rPr lang="en-US" sz="1400">
                          <a:effectLst/>
                        </a:rPr>
                        <a:t>34 towered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/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41 towered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de-DE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7065327"/>
                  </a:ext>
                </a:extLst>
              </a:tr>
              <a:tr h="283431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20 ILS /GLS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</a:rPr>
                        <a:t>9 UAS IAP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>
                          <a:effectLst/>
                        </a:rPr>
                        <a:t>25 ILS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effectLst/>
                        </a:rPr>
                        <a:t>1 UAS IAP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effectLst/>
                        </a:rPr>
                        <a:t>25 ILS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effectLst/>
                        </a:rPr>
                        <a:t>0 UAS IAP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07129045"/>
                  </a:ext>
                </a:extLst>
              </a:tr>
              <a:tr h="283431">
                <a:tc rowSpan="2"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E/G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</a:rPr>
                        <a:t>151 non-towered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/>
                      <a:r>
                        <a:rPr lang="en-US" sz="1400" dirty="0">
                          <a:effectLst/>
                        </a:rPr>
                        <a:t>336 non-towered 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hangingPunct="0"/>
                      <a:r>
                        <a:rPr lang="en-US" sz="1400">
                          <a:effectLst/>
                        </a:rPr>
                        <a:t>187 non-towered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8922263"/>
                  </a:ext>
                </a:extLst>
              </a:tr>
              <a:tr h="283431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</a:rPr>
                        <a:t>4 ILS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</a:rPr>
                        <a:t>0 UAS IAP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effectLst/>
                        </a:rPr>
                        <a:t>5 ILS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effectLst/>
                        </a:rPr>
                        <a:t>0 UAS IAP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effectLst/>
                        </a:rPr>
                        <a:t>8 ILS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hangingPunct="0"/>
                      <a:r>
                        <a:rPr lang="en-US" sz="1400" dirty="0">
                          <a:effectLst/>
                        </a:rPr>
                        <a:t>0 UAS IAP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79723136"/>
                  </a:ext>
                </a:extLst>
              </a:tr>
            </a:tbl>
          </a:graphicData>
        </a:graphic>
      </p:graphicFrame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2EA7461-7879-159F-F14B-157F6AC683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9379" y="5492490"/>
            <a:ext cx="10298199" cy="423406"/>
          </a:xfrm>
        </p:spPr>
        <p:txBody>
          <a:bodyPr>
            <a:noAutofit/>
          </a:bodyPr>
          <a:lstStyle/>
          <a:p>
            <a:r>
              <a:rPr lang="en-US" sz="1800" dirty="0"/>
              <a:t>Each area has a </a:t>
            </a:r>
            <a:r>
              <a:rPr lang="en-US" sz="1800" b="1" dirty="0"/>
              <a:t>large amount of non-towered potential UAS airports</a:t>
            </a:r>
          </a:p>
          <a:p>
            <a:pPr lvl="1"/>
            <a:endParaRPr lang="en-US" sz="1600" b="1" dirty="0"/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1ACC4CBD-E857-E941-DD7E-4ACED9D88AB5}"/>
              </a:ext>
            </a:extLst>
          </p:cNvPr>
          <p:cNvSpPr/>
          <p:nvPr/>
        </p:nvSpPr>
        <p:spPr>
          <a:xfrm rot="5400000">
            <a:off x="4185555" y="2868387"/>
            <a:ext cx="315686" cy="1480457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31022ED-7C91-BF92-FD17-35F7234578E4}"/>
              </a:ext>
            </a:extLst>
          </p:cNvPr>
          <p:cNvSpPr txBox="1">
            <a:spLocks/>
          </p:cNvSpPr>
          <p:nvPr/>
        </p:nvSpPr>
        <p:spPr>
          <a:xfrm>
            <a:off x="819379" y="4426887"/>
            <a:ext cx="10298199" cy="4234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Germany has 9 potential UAS airports with UAS IAP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D82E9C3-2A4D-3A97-506E-07EE7F86AA12}"/>
              </a:ext>
            </a:extLst>
          </p:cNvPr>
          <p:cNvSpPr txBox="1">
            <a:spLocks/>
          </p:cNvSpPr>
          <p:nvPr/>
        </p:nvSpPr>
        <p:spPr>
          <a:xfrm>
            <a:off x="819379" y="4818438"/>
            <a:ext cx="10298199" cy="4234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Texas and California each have one potential UAS airport with UAS IAP 		         </a:t>
            </a:r>
            <a:r>
              <a:rPr lang="en-US" sz="1800" dirty="0"/>
              <a:t>(Fort Worth Alliance, KAFW, in Texas and Fresno Yosemite International, KFAT, in California)</a:t>
            </a:r>
          </a:p>
        </p:txBody>
      </p:sp>
      <p:sp>
        <p:nvSpPr>
          <p:cNvPr id="3" name="Rectangle 11">
            <a:extLst>
              <a:ext uri="{FF2B5EF4-FFF2-40B4-BE49-F238E27FC236}">
                <a16:creationId xmlns:a16="http://schemas.microsoft.com/office/drawing/2014/main" id="{B41F3706-570D-65E3-9F10-764F9D376AED}"/>
              </a:ext>
            </a:extLst>
          </p:cNvPr>
          <p:cNvSpPr/>
          <p:nvPr/>
        </p:nvSpPr>
        <p:spPr>
          <a:xfrm rot="5400000">
            <a:off x="7102927" y="2868388"/>
            <a:ext cx="315686" cy="1480457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11">
            <a:extLst>
              <a:ext uri="{FF2B5EF4-FFF2-40B4-BE49-F238E27FC236}">
                <a16:creationId xmlns:a16="http://schemas.microsoft.com/office/drawing/2014/main" id="{2CABD9F6-E561-405B-6606-652E01BBE7A6}"/>
              </a:ext>
            </a:extLst>
          </p:cNvPr>
          <p:cNvSpPr/>
          <p:nvPr/>
        </p:nvSpPr>
        <p:spPr>
          <a:xfrm rot="5400000">
            <a:off x="10190660" y="2266817"/>
            <a:ext cx="315686" cy="15381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97CAACC4-3F44-366D-9B0F-FD59519E255A}"/>
              </a:ext>
            </a:extLst>
          </p:cNvPr>
          <p:cNvSpPr/>
          <p:nvPr/>
        </p:nvSpPr>
        <p:spPr>
          <a:xfrm rot="5400000">
            <a:off x="6395901" y="-408760"/>
            <a:ext cx="579117" cy="886423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4867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/>
      <p:bldP spid="22" grpId="0" animBg="1"/>
      <p:bldP spid="22" grpId="1" animBg="1"/>
      <p:bldP spid="15" grpId="0"/>
      <p:bldP spid="16" grpId="0"/>
      <p:bldP spid="3" grpId="0" animBg="1"/>
      <p:bldP spid="3" grpId="1" animBg="1"/>
      <p:bldP spid="5" grpId="0" animBg="1"/>
      <p:bldP spid="5" grpId="1" animBg="1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82873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669" y="143289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Potential of Regional Cargo UAS</a:t>
            </a:r>
            <a:br>
              <a:rPr lang="en-US" sz="2400" dirty="0"/>
            </a:br>
            <a:r>
              <a:rPr lang="en-US" sz="2400" dirty="0"/>
              <a:t>Public Airports – German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1" descr="A map of Germany showing public airports by their Instrument Approach Procedure availability. Potential UAS airports are shown with a circle, non-potential UAS airports are shown with a triangle. GLS CAT II, I, ILS CAT III, II, and I, and Other/non-precision IAP are identified. ">
            <a:extLst>
              <a:ext uri="{FF2B5EF4-FFF2-40B4-BE49-F238E27FC236}">
                <a16:creationId xmlns:a16="http://schemas.microsoft.com/office/drawing/2014/main" id="{665F2CFB-8028-6444-056F-25A94235811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3244"/>
          <a:stretch/>
        </p:blipFill>
        <p:spPr>
          <a:xfrm>
            <a:off x="3644119" y="1312043"/>
            <a:ext cx="3823983" cy="5270600"/>
          </a:xfrm>
          <a:prstGeom prst="rect">
            <a:avLst/>
          </a:prstGeom>
        </p:spPr>
      </p:pic>
      <p:pic>
        <p:nvPicPr>
          <p:cNvPr id="9" name="Picture 1" descr="A map of Germany showing public airports by their Instrument Approach Procedure availability. Potential UAS airports are shown with a circle, non-potential UAS airports are shown with a triangle. GLS CAT II, I, ILS CAT III, II, and I, and Other/non-precision IAP are identified. ">
            <a:extLst>
              <a:ext uri="{FF2B5EF4-FFF2-40B4-BE49-F238E27FC236}">
                <a16:creationId xmlns:a16="http://schemas.microsoft.com/office/drawing/2014/main" id="{0E0BF553-5EB2-9BEC-AF24-C23C87799F1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8156" t="3820" r="2220" b="47341"/>
          <a:stretch/>
        </p:blipFill>
        <p:spPr>
          <a:xfrm>
            <a:off x="795669" y="3858386"/>
            <a:ext cx="2848450" cy="274651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1244A92-62F5-8AF2-FF6D-EC5DFE81D1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46869" y="1989441"/>
            <a:ext cx="4349925" cy="320515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rgbClr val="00658B"/>
                </a:solidFill>
              </a:rPr>
              <a:t>Germany:</a:t>
            </a:r>
          </a:p>
          <a:p>
            <a:r>
              <a:rPr lang="en-US" sz="1800" dirty="0"/>
              <a:t>Across Germany, different types of airports are well distributed</a:t>
            </a:r>
          </a:p>
          <a:p>
            <a:r>
              <a:rPr lang="en-US" sz="1800" dirty="0"/>
              <a:t>Relatively high density of potential UAS airports in the </a:t>
            </a:r>
            <a:r>
              <a:rPr lang="en-US" sz="1800" b="1" dirty="0"/>
              <a:t>west of Germany </a:t>
            </a:r>
            <a:r>
              <a:rPr lang="en-US" sz="1800" dirty="0"/>
              <a:t>around Frankfurt (EDDF) and Cologne/Bonn (EDDK)</a:t>
            </a:r>
          </a:p>
          <a:p>
            <a:r>
              <a:rPr lang="en-US" sz="1800" b="1" dirty="0"/>
              <a:t>Bremen </a:t>
            </a:r>
            <a:r>
              <a:rPr lang="en-US" sz="1800" dirty="0"/>
              <a:t>(EDDW) is the only potential UAS airport with UAS IAP that provides </a:t>
            </a:r>
            <a:r>
              <a:rPr lang="en-US" sz="1800" b="1" dirty="0"/>
              <a:t>GLS procedure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A7E263E-428B-9B7A-3388-ED739AB7B774}"/>
              </a:ext>
            </a:extLst>
          </p:cNvPr>
          <p:cNvSpPr/>
          <p:nvPr/>
        </p:nvSpPr>
        <p:spPr>
          <a:xfrm>
            <a:off x="3635965" y="3675201"/>
            <a:ext cx="1850435" cy="1760942"/>
          </a:xfrm>
          <a:prstGeom prst="ellipse">
            <a:avLst/>
          </a:pr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931ACE5-ECDF-EE2E-D2CC-CC4B047EC642}"/>
              </a:ext>
            </a:extLst>
          </p:cNvPr>
          <p:cNvSpPr/>
          <p:nvPr/>
        </p:nvSpPr>
        <p:spPr>
          <a:xfrm>
            <a:off x="4396980" y="2197514"/>
            <a:ext cx="991451" cy="985286"/>
          </a:xfrm>
          <a:prstGeom prst="ellipse">
            <a:avLst/>
          </a:pr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1" descr="A map of Germany showing public airports by their Instrument Approach Procedure availability. Potential UAS airports are shown with a circle, non-potential UAS airports are shown with a triangle. GLS CAT II, I, ILS CAT III, II, and I, and Other/non-precision IAP are identified. ">
            <a:extLst>
              <a:ext uri="{FF2B5EF4-FFF2-40B4-BE49-F238E27FC236}">
                <a16:creationId xmlns:a16="http://schemas.microsoft.com/office/drawing/2014/main" id="{1F2BB8F2-25CC-E085-DEFE-2B978CC6995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8988" t="50343" r="1388" b="3802"/>
          <a:stretch/>
        </p:blipFill>
        <p:spPr>
          <a:xfrm>
            <a:off x="795669" y="1316692"/>
            <a:ext cx="2848450" cy="257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62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5" grpId="0" animBg="1"/>
    </p:bldLst>
  </p:timing>
  <p:extLst>
    <p:ext uri="{6950BFC3-D8DA-4A85-94F7-54DA5524770B}">
      <p188:commentRel xmlns:p188="http://schemas.microsoft.com/office/powerpoint/2018/8/main" r:id="rId4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27094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Potential of Regional Cargo UAS</a:t>
            </a:r>
            <a:br>
              <a:rPr lang="en-US" sz="2400" dirty="0"/>
            </a:br>
            <a:r>
              <a:rPr lang="en-US" sz="2400" dirty="0"/>
              <a:t>Public Airports – Tex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Grafik 2" descr="A map of Texas showing public airports by their Instrument Approach Procedure availability. Potential UAS airports are shown with a circle, non-potential UAS airports are shown with a triangle. GLS CAT I, ILS CAT III, II, and I, and Other/non-precision IAP are identified. ">
            <a:extLst>
              <a:ext uri="{FF2B5EF4-FFF2-40B4-BE49-F238E27FC236}">
                <a16:creationId xmlns:a16="http://schemas.microsoft.com/office/drawing/2014/main" id="{8CD8CAA0-471B-12C9-3587-5EAD7C40335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1723" y="1318659"/>
            <a:ext cx="5354848" cy="439936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5C2BEF8-148D-B090-845D-37A88360D0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90129" y="1967669"/>
            <a:ext cx="2913681" cy="320515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rgbClr val="00658B"/>
                </a:solidFill>
              </a:rPr>
              <a:t>Texas:</a:t>
            </a:r>
          </a:p>
          <a:p>
            <a:r>
              <a:rPr lang="en-US" sz="1800" dirty="0"/>
              <a:t>Airports are concentrated around major cities – lots of empty space</a:t>
            </a:r>
          </a:p>
          <a:p>
            <a:r>
              <a:rPr lang="en-US" sz="1800" dirty="0"/>
              <a:t>Just one towered airport at the smaller cities – none have UAS IAP</a:t>
            </a:r>
          </a:p>
        </p:txBody>
      </p:sp>
      <p:pic>
        <p:nvPicPr>
          <p:cNvPr id="7" name="Picture 1" descr="A map of Germany showing public airports by their Instrument Approach Procedure availability. Potential UAS airports are shown with a circle, non-potential UAS airports are shown with a triangle. GLS CAT II, I, ILS CAT III, II, and I, and Other/non-precision IAP are identified. ">
            <a:extLst>
              <a:ext uri="{FF2B5EF4-FFF2-40B4-BE49-F238E27FC236}">
                <a16:creationId xmlns:a16="http://schemas.microsoft.com/office/drawing/2014/main" id="{499333EE-8300-8B70-4A69-F4200D3862B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8156" t="3821" r="2220" b="2574"/>
          <a:stretch/>
        </p:blipFill>
        <p:spPr>
          <a:xfrm>
            <a:off x="798014" y="1318659"/>
            <a:ext cx="2380586" cy="4399363"/>
          </a:xfrm>
          <a:prstGeom prst="rect">
            <a:avLst/>
          </a:prstGeom>
        </p:spPr>
      </p:pic>
      <p:sp>
        <p:nvSpPr>
          <p:cNvPr id="9" name="Triangle 8">
            <a:extLst>
              <a:ext uri="{FF2B5EF4-FFF2-40B4-BE49-F238E27FC236}">
                <a16:creationId xmlns:a16="http://schemas.microsoft.com/office/drawing/2014/main" id="{2CA379F2-6DB9-9EFD-B18C-D48A35D10182}"/>
              </a:ext>
            </a:extLst>
          </p:cNvPr>
          <p:cNvSpPr/>
          <p:nvPr/>
        </p:nvSpPr>
        <p:spPr>
          <a:xfrm>
            <a:off x="5923676" y="2303945"/>
            <a:ext cx="2305924" cy="2100774"/>
          </a:xfrm>
          <a:prstGeom prst="triangle">
            <a:avLst/>
          </a:pr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1" descr="A map of Germany showing public airports by their Instrument Approach Procedure availability. Potential UAS airports are shown with a circle, non-potential UAS airports are shown with a triangle. GLS CAT II, I, ILS CAT III, II, and I, and Other/non-precision IAP are identified. ">
            <a:extLst>
              <a:ext uri="{FF2B5EF4-FFF2-40B4-BE49-F238E27FC236}">
                <a16:creationId xmlns:a16="http://schemas.microsoft.com/office/drawing/2014/main" id="{F53B3F8D-BEBB-78A1-0854-23761960F99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8156" t="3820" r="2220" b="47341"/>
          <a:stretch/>
        </p:blipFill>
        <p:spPr>
          <a:xfrm>
            <a:off x="795669" y="3429001"/>
            <a:ext cx="2382931" cy="2297652"/>
          </a:xfrm>
          <a:prstGeom prst="rect">
            <a:avLst/>
          </a:prstGeom>
        </p:spPr>
      </p:pic>
      <p:pic>
        <p:nvPicPr>
          <p:cNvPr id="10" name="Picture 1" descr="A map of Germany showing public airports by their Instrument Approach Procedure availability. Potential UAS airports are shown with a circle, non-potential UAS airports are shown with a triangle. GLS CAT II, I, ILS CAT III, II, and I, and Other/non-precision IAP are identified. ">
            <a:extLst>
              <a:ext uri="{FF2B5EF4-FFF2-40B4-BE49-F238E27FC236}">
                <a16:creationId xmlns:a16="http://schemas.microsoft.com/office/drawing/2014/main" id="{2C3F5043-3964-71EC-1B2F-2B504117351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8988" t="50343" r="1388" b="3802"/>
          <a:stretch/>
        </p:blipFill>
        <p:spPr>
          <a:xfrm>
            <a:off x="795669" y="1316693"/>
            <a:ext cx="2382931" cy="215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602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85045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latin typeface="Arial" pitchFamily="34" charset="0"/>
                <a:cs typeface="Arial" pitchFamily="34" charset="0"/>
              </a:rPr>
              <a:t>Introduction and Background</a:t>
            </a:r>
            <a:endParaRPr lang="en-US" dirty="0"/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</a:rPr>
              <a:t>Scope and Research Ques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ccessibility Characteristics of Regional Cargo UAS Opera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</a:rPr>
              <a:t>Accessibility Potential of Regional Cargo UAS Opera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onclusions and </a:t>
            </a:r>
            <a:r>
              <a:rPr lang="en-US" dirty="0">
                <a:solidFill>
                  <a:schemeClr val="accent6"/>
                </a:solidFill>
              </a:rPr>
              <a:t>F</a:t>
            </a: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uture Work</a:t>
            </a:r>
          </a:p>
          <a:p>
            <a:endParaRPr lang="en-US" sz="28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7631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6682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Potential of Regional Cargo UAS</a:t>
            </a:r>
            <a:br>
              <a:rPr lang="en-US" sz="2400" dirty="0"/>
            </a:br>
            <a:r>
              <a:rPr lang="en-US" sz="2400" dirty="0"/>
              <a:t>Public Airports – Californi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47C5610-5843-EEA9-60B3-F2857EED2B79}"/>
              </a:ext>
            </a:extLst>
          </p:cNvPr>
          <p:cNvSpPr txBox="1">
            <a:spLocks/>
          </p:cNvSpPr>
          <p:nvPr/>
        </p:nvSpPr>
        <p:spPr>
          <a:xfrm>
            <a:off x="8150583" y="1967669"/>
            <a:ext cx="4041417" cy="32051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2000" b="1" dirty="0">
                <a:solidFill>
                  <a:srgbClr val="00658B"/>
                </a:solidFill>
              </a:rPr>
              <a:t>California:</a:t>
            </a:r>
          </a:p>
          <a:p>
            <a:r>
              <a:rPr lang="en-US" sz="2000" dirty="0"/>
              <a:t>Like Texas</a:t>
            </a:r>
          </a:p>
          <a:p>
            <a:r>
              <a:rPr lang="en-US" sz="2000" dirty="0"/>
              <a:t>Concentrated in metro areas</a:t>
            </a:r>
          </a:p>
          <a:p>
            <a:r>
              <a:rPr lang="en-US" sz="2000" dirty="0"/>
              <a:t>Except KFAT</a:t>
            </a:r>
          </a:p>
          <a:p>
            <a:r>
              <a:rPr lang="en-US" sz="2000" dirty="0"/>
              <a:t>Lots of empty space</a:t>
            </a:r>
          </a:p>
          <a:p>
            <a:endParaRPr lang="en-US" sz="1800" b="1" dirty="0"/>
          </a:p>
        </p:txBody>
      </p:sp>
      <p:pic>
        <p:nvPicPr>
          <p:cNvPr id="3" name="Picture 1" descr="A map of Germany showing public airports by their Instrument Approach Procedure availability. Potential UAS airports are shown with a circle, non-potential UAS airports are shown with a triangle. GLS CAT II, I, ILS CAT III, II, and I, and Other/non-precision IAP are identified. ">
            <a:extLst>
              <a:ext uri="{FF2B5EF4-FFF2-40B4-BE49-F238E27FC236}">
                <a16:creationId xmlns:a16="http://schemas.microsoft.com/office/drawing/2014/main" id="{8F8AD7BB-8DC8-F08C-F2B6-EE5FBEB12F0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8156" t="3821" r="2220" b="2574"/>
          <a:stretch/>
        </p:blipFill>
        <p:spPr>
          <a:xfrm>
            <a:off x="798014" y="1318659"/>
            <a:ext cx="2380586" cy="4399363"/>
          </a:xfrm>
          <a:prstGeom prst="rect">
            <a:avLst/>
          </a:prstGeom>
        </p:spPr>
      </p:pic>
      <p:pic>
        <p:nvPicPr>
          <p:cNvPr id="6" name="Picture 5" descr="Map, radar chart&#10;&#10;Description automatically generated">
            <a:extLst>
              <a:ext uri="{FF2B5EF4-FFF2-40B4-BE49-F238E27FC236}">
                <a16:creationId xmlns:a16="http://schemas.microsoft.com/office/drawing/2014/main" id="{1E866CD0-F0A8-8C92-AA65-7D6D348B15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8599" y="1318659"/>
            <a:ext cx="4637343" cy="4399531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5A29050-FB1B-E03D-A0CD-CB937D9D923A}"/>
              </a:ext>
            </a:extLst>
          </p:cNvPr>
          <p:cNvSpPr/>
          <p:nvPr/>
        </p:nvSpPr>
        <p:spPr>
          <a:xfrm>
            <a:off x="3513241" y="2492828"/>
            <a:ext cx="1252708" cy="1256029"/>
          </a:xfrm>
          <a:prstGeom prst="ellipse">
            <a:avLst/>
          </a:pr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5614D10-274F-80F2-CA0B-825C47044A3B}"/>
              </a:ext>
            </a:extLst>
          </p:cNvPr>
          <p:cNvSpPr/>
          <p:nvPr/>
        </p:nvSpPr>
        <p:spPr>
          <a:xfrm>
            <a:off x="5342042" y="4463143"/>
            <a:ext cx="1058759" cy="1076198"/>
          </a:xfrm>
          <a:prstGeom prst="ellipse">
            <a:avLst/>
          </a:pr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F687890-8E84-0594-1E50-EBA1DD36F00A}"/>
              </a:ext>
            </a:extLst>
          </p:cNvPr>
          <p:cNvSpPr/>
          <p:nvPr/>
        </p:nvSpPr>
        <p:spPr>
          <a:xfrm>
            <a:off x="4972515" y="3247779"/>
            <a:ext cx="695509" cy="694862"/>
          </a:xfrm>
          <a:prstGeom prst="ellipse">
            <a:avLst/>
          </a:pr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1" descr="A map of Germany showing public airports by their Instrument Approach Procedure availability. Potential UAS airports are shown with a circle, non-potential UAS airports are shown with a triangle. GLS CAT II, I, ILS CAT III, II, and I, and Other/non-precision IAP are identified. ">
            <a:extLst>
              <a:ext uri="{FF2B5EF4-FFF2-40B4-BE49-F238E27FC236}">
                <a16:creationId xmlns:a16="http://schemas.microsoft.com/office/drawing/2014/main" id="{31EE3851-D835-7D2B-589D-BD1A884291A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8156" t="3820" r="2220" b="47341"/>
          <a:stretch/>
        </p:blipFill>
        <p:spPr>
          <a:xfrm>
            <a:off x="790031" y="3481008"/>
            <a:ext cx="2320042" cy="2237013"/>
          </a:xfrm>
          <a:prstGeom prst="rect">
            <a:avLst/>
          </a:prstGeom>
        </p:spPr>
      </p:pic>
      <p:pic>
        <p:nvPicPr>
          <p:cNvPr id="11" name="Picture 1" descr="A map of Germany showing public airports by their Instrument Approach Procedure availability. Potential UAS airports are shown with a circle, non-potential UAS airports are shown with a triangle. GLS CAT II, I, ILS CAT III, II, and I, and Other/non-precision IAP are identified. ">
            <a:extLst>
              <a:ext uri="{FF2B5EF4-FFF2-40B4-BE49-F238E27FC236}">
                <a16:creationId xmlns:a16="http://schemas.microsoft.com/office/drawing/2014/main" id="{9FE50CDB-8168-B069-5309-3602FC65A6C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8988" t="50343" r="1388" b="3802"/>
          <a:stretch/>
        </p:blipFill>
        <p:spPr>
          <a:xfrm>
            <a:off x="790031" y="1318659"/>
            <a:ext cx="2388567" cy="2162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808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9" grpId="0" animBg="1"/>
      <p:bldP spid="9" grpId="1" animBg="1"/>
      <p:bldP spid="10" grpId="0" animBg="1"/>
      <p:bldP spid="10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Potential of Regional Cargo UAS</a:t>
            </a:r>
            <a:br>
              <a:rPr lang="en-US" sz="2400" dirty="0"/>
            </a:br>
            <a:r>
              <a:rPr lang="en-US" sz="2400" dirty="0"/>
              <a:t>Regional Cargo Aircraft Eligible for UAS Opera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E78C5030-791B-0DD8-57AB-0D04DB739E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5300622"/>
              </p:ext>
            </p:extLst>
          </p:nvPr>
        </p:nvGraphicFramePr>
        <p:xfrm>
          <a:off x="1678942" y="4346615"/>
          <a:ext cx="8834115" cy="16514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92293">
                  <a:extLst>
                    <a:ext uri="{9D8B030D-6E8A-4147-A177-3AD203B41FA5}">
                      <a16:colId xmlns:a16="http://schemas.microsoft.com/office/drawing/2014/main" val="2976413238"/>
                    </a:ext>
                  </a:extLst>
                </a:gridCol>
                <a:gridCol w="2247274">
                  <a:extLst>
                    <a:ext uri="{9D8B030D-6E8A-4147-A177-3AD203B41FA5}">
                      <a16:colId xmlns:a16="http://schemas.microsoft.com/office/drawing/2014/main" val="2063139059"/>
                    </a:ext>
                  </a:extLst>
                </a:gridCol>
                <a:gridCol w="2247274">
                  <a:extLst>
                    <a:ext uri="{9D8B030D-6E8A-4147-A177-3AD203B41FA5}">
                      <a16:colId xmlns:a16="http://schemas.microsoft.com/office/drawing/2014/main" val="353678170"/>
                    </a:ext>
                  </a:extLst>
                </a:gridCol>
                <a:gridCol w="2247274">
                  <a:extLst>
                    <a:ext uri="{9D8B030D-6E8A-4147-A177-3AD203B41FA5}">
                      <a16:colId xmlns:a16="http://schemas.microsoft.com/office/drawing/2014/main" val="603187896"/>
                    </a:ext>
                  </a:extLst>
                </a:gridCol>
              </a:tblGrid>
              <a:tr h="279861">
                <a:tc rowSpan="2">
                  <a:txBody>
                    <a:bodyPr/>
                    <a:lstStyle/>
                    <a:p>
                      <a:pPr algn="ctr" hangingPunct="0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</a:rPr>
                        <a:t>Aircraft types </a:t>
                      </a:r>
                      <a:endParaRPr lang="de-DE" sz="1800" b="1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 hangingPunct="0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</a:rPr>
                        <a:t>MTOW</a:t>
                      </a:r>
                      <a:endParaRPr lang="de-DE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</a:rPr>
                        <a:t>Count of accessible potential UAS airports </a:t>
                      </a:r>
                      <a:endParaRPr lang="de-DE" sz="1800" b="1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</a:rPr>
                        <a:t>MTOW</a:t>
                      </a:r>
                      <a:endParaRPr lang="de-DE" sz="1800" b="1" i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0133891"/>
                  </a:ext>
                </a:extLst>
              </a:tr>
              <a:tr h="279861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</a:rPr>
                        <a:t>Germany</a:t>
                      </a:r>
                      <a:endParaRPr lang="de-DE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</a:rPr>
                        <a:t>Texas</a:t>
                      </a:r>
                      <a:endParaRPr lang="de-DE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</a:rPr>
                        <a:t>California</a:t>
                      </a:r>
                      <a:endParaRPr lang="de-DE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41021"/>
                  </a:ext>
                </a:extLst>
              </a:tr>
              <a:tr h="419792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</a:rPr>
                        <a:t>ATR 42-600</a:t>
                      </a:r>
                      <a:endParaRPr lang="de-DE" sz="1800" b="1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</a:rPr>
                        <a:t>18.60 t</a:t>
                      </a:r>
                      <a:endParaRPr lang="de-DE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u="sng" dirty="0">
                          <a:effectLst/>
                        </a:rPr>
                        <a:t>40 total</a:t>
                      </a:r>
                      <a:endParaRPr lang="de-DE" sz="1800" b="1" dirty="0">
                        <a:effectLst/>
                      </a:endParaRPr>
                    </a:p>
                    <a:p>
                      <a:pPr algn="ctr"/>
                      <a:r>
                        <a:rPr lang="en-US" sz="1800" dirty="0">
                          <a:effectLst/>
                        </a:rPr>
                        <a:t>20 </a:t>
                      </a:r>
                      <a:r>
                        <a:rPr lang="en-US" sz="1800" b="1" dirty="0">
                          <a:effectLst/>
                        </a:rPr>
                        <a:t>towered</a:t>
                      </a:r>
                      <a:endParaRPr lang="de-DE" sz="1800" b="1" dirty="0">
                        <a:effectLst/>
                      </a:endParaRPr>
                    </a:p>
                    <a:p>
                      <a:pPr algn="ctr"/>
                      <a:r>
                        <a:rPr lang="en-US" sz="1800" dirty="0">
                          <a:effectLst/>
                        </a:rPr>
                        <a:t>20 </a:t>
                      </a:r>
                      <a:r>
                        <a:rPr lang="en-US" sz="1800" b="1" dirty="0">
                          <a:effectLst/>
                        </a:rPr>
                        <a:t>non-towered</a:t>
                      </a:r>
                      <a:endParaRPr lang="de-DE" sz="1800" b="1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800" b="1" u="sng" dirty="0">
                          <a:effectLst/>
                        </a:rPr>
                        <a:t>66 total</a:t>
                      </a:r>
                      <a:endParaRPr lang="de-DE" sz="1800" b="1" dirty="0">
                        <a:effectLst/>
                      </a:endParaRPr>
                    </a:p>
                    <a:p>
                      <a:pPr algn="ctr" hangingPunct="0"/>
                      <a:r>
                        <a:rPr lang="en-US" sz="1800" dirty="0">
                          <a:effectLst/>
                        </a:rPr>
                        <a:t>36 </a:t>
                      </a:r>
                      <a:r>
                        <a:rPr lang="en-US" sz="1800" b="1" dirty="0">
                          <a:effectLst/>
                        </a:rPr>
                        <a:t>towered</a:t>
                      </a:r>
                      <a:endParaRPr lang="de-DE" sz="1800" b="1" dirty="0">
                        <a:effectLst/>
                      </a:endParaRPr>
                    </a:p>
                    <a:p>
                      <a:pPr algn="ctr" hangingPunct="0"/>
                      <a:r>
                        <a:rPr lang="en-US" sz="1800" dirty="0">
                          <a:effectLst/>
                        </a:rPr>
                        <a:t>30 </a:t>
                      </a:r>
                      <a:r>
                        <a:rPr lang="en-US" sz="1800" b="1" dirty="0">
                          <a:effectLst/>
                        </a:rPr>
                        <a:t>non-towered</a:t>
                      </a:r>
                      <a:endParaRPr lang="de-DE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800" b="1" u="sng" dirty="0">
                          <a:effectLst/>
                        </a:rPr>
                        <a:t>75 total</a:t>
                      </a:r>
                      <a:endParaRPr lang="de-DE" sz="1800" b="1" dirty="0">
                        <a:effectLst/>
                      </a:endParaRPr>
                    </a:p>
                    <a:p>
                      <a:pPr algn="ctr" hangingPunct="0"/>
                      <a:r>
                        <a:rPr lang="en-US" sz="1800" dirty="0">
                          <a:effectLst/>
                        </a:rPr>
                        <a:t>36 </a:t>
                      </a:r>
                      <a:r>
                        <a:rPr lang="en-US" sz="1800" b="1" dirty="0">
                          <a:effectLst/>
                        </a:rPr>
                        <a:t>towered</a:t>
                      </a:r>
                      <a:endParaRPr lang="de-DE" sz="1800" b="1" dirty="0">
                        <a:effectLst/>
                      </a:endParaRPr>
                    </a:p>
                    <a:p>
                      <a:pPr algn="ctr" hangingPunct="0"/>
                      <a:r>
                        <a:rPr lang="en-US" sz="1800" dirty="0">
                          <a:effectLst/>
                        </a:rPr>
                        <a:t>39 </a:t>
                      </a:r>
                      <a:r>
                        <a:rPr lang="en-US" sz="1800" b="1" dirty="0">
                          <a:effectLst/>
                        </a:rPr>
                        <a:t>non-towered</a:t>
                      </a:r>
                      <a:endParaRPr lang="de-DE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82193944"/>
                  </a:ext>
                </a:extLst>
              </a:tr>
            </a:tbl>
          </a:graphicData>
        </a:graphic>
      </p:graphicFrame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EEA5B6-4D63-8355-81C3-7E90EA3BAA5A}"/>
              </a:ext>
            </a:extLst>
          </p:cNvPr>
          <p:cNvSpPr txBox="1">
            <a:spLocks/>
          </p:cNvSpPr>
          <p:nvPr/>
        </p:nvSpPr>
        <p:spPr>
          <a:xfrm>
            <a:off x="695324" y="1318661"/>
            <a:ext cx="11496676" cy="33077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0658B"/>
                </a:solidFill>
              </a:rPr>
              <a:t>How to use this information </a:t>
            </a:r>
          </a:p>
          <a:p>
            <a:pPr lvl="1">
              <a:spcBef>
                <a:spcPts val="0"/>
              </a:spcBef>
            </a:pPr>
            <a:r>
              <a:rPr lang="en-US" sz="2400" dirty="0">
                <a:latin typeface="+mn-lt"/>
              </a:rPr>
              <a:t>Given an aircraft, can obtain bounds of number of possible UAS airports</a:t>
            </a:r>
          </a:p>
          <a:p>
            <a:pPr lvl="2">
              <a:spcBef>
                <a:spcPts val="0"/>
              </a:spcBef>
            </a:pPr>
            <a:r>
              <a:rPr lang="en-US" sz="2400" b="1" dirty="0">
                <a:solidFill>
                  <a:srgbClr val="000000"/>
                </a:solidFill>
                <a:latin typeface="+mn-lt"/>
              </a:rPr>
              <a:t>Maximum Takeoff Weight </a:t>
            </a:r>
            <a:r>
              <a:rPr lang="en-US" sz="2400" dirty="0">
                <a:solidFill>
                  <a:srgbClr val="000000"/>
                </a:solidFill>
                <a:latin typeface="+mn-lt"/>
              </a:rPr>
              <a:t>(MTOW) is the maximum weight the pilot is allowed to attempt to takeoff</a:t>
            </a:r>
          </a:p>
          <a:p>
            <a:pPr lvl="1">
              <a:spcBef>
                <a:spcPts val="0"/>
              </a:spcBef>
            </a:pPr>
            <a:r>
              <a:rPr lang="en-US" sz="2400" dirty="0">
                <a:solidFill>
                  <a:srgbClr val="000000"/>
                </a:solidFill>
                <a:latin typeface="+mn-lt"/>
              </a:rPr>
              <a:t>That set of airports can then be analyzed</a:t>
            </a:r>
          </a:p>
          <a:p>
            <a:pPr lvl="2">
              <a:spcBef>
                <a:spcPts val="0"/>
              </a:spcBef>
            </a:pPr>
            <a:r>
              <a:rPr lang="en-US" sz="2400" dirty="0">
                <a:solidFill>
                  <a:srgbClr val="000000"/>
                </a:solidFill>
                <a:latin typeface="+mn-lt"/>
              </a:rPr>
              <a:t>Presence of UAS IAP</a:t>
            </a:r>
          </a:p>
          <a:p>
            <a:pPr lvl="2">
              <a:spcBef>
                <a:spcPts val="0"/>
              </a:spcBef>
            </a:pPr>
            <a:r>
              <a:rPr lang="en-US" sz="2400" dirty="0">
                <a:solidFill>
                  <a:srgbClr val="000000"/>
                </a:solidFill>
                <a:latin typeface="+mn-lt"/>
              </a:rPr>
              <a:t>Towered/non-towered</a:t>
            </a:r>
          </a:p>
          <a:p>
            <a:pPr lvl="2">
              <a:spcBef>
                <a:spcPts val="0"/>
              </a:spcBef>
            </a:pPr>
            <a:r>
              <a:rPr lang="en-US" sz="2400" dirty="0">
                <a:solidFill>
                  <a:srgbClr val="000000"/>
                </a:solidFill>
                <a:latin typeface="+mn-lt"/>
              </a:rPr>
              <a:t>Current cargo operations</a:t>
            </a:r>
          </a:p>
        </p:txBody>
      </p:sp>
    </p:spTree>
    <p:extLst>
      <p:ext uri="{BB962C8B-B14F-4D97-AF65-F5344CB8AC3E}">
        <p14:creationId xmlns:p14="http://schemas.microsoft.com/office/powerpoint/2010/main" val="861352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Introduction and Background</a:t>
            </a:r>
            <a:endParaRPr lang="en-US" dirty="0">
              <a:solidFill>
                <a:schemeClr val="accent6"/>
              </a:solidFill>
            </a:endParaRP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</a:rPr>
              <a:t>Scope and Research Ques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haracteristics of Regional </a:t>
            </a:r>
            <a:r>
              <a:rPr lang="en-US" dirty="0">
                <a:solidFill>
                  <a:schemeClr val="accent6"/>
                </a:solidFill>
              </a:rPr>
              <a:t>A</a:t>
            </a: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ir </a:t>
            </a:r>
            <a:r>
              <a:rPr lang="en-US" dirty="0">
                <a:solidFill>
                  <a:schemeClr val="accent6"/>
                </a:solidFill>
              </a:rPr>
              <a:t>C</a:t>
            </a: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rgo </a:t>
            </a:r>
            <a:r>
              <a:rPr lang="en-US" dirty="0">
                <a:solidFill>
                  <a:schemeClr val="accent6"/>
                </a:solidFill>
              </a:rPr>
              <a:t>O</a:t>
            </a: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pera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</a:rPr>
              <a:t>Assessing the Potential of Cargo UA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latin typeface="Arial" pitchFamily="34" charset="0"/>
                <a:cs typeface="Arial" pitchFamily="34" charset="0"/>
              </a:rPr>
              <a:t>Conclusions and </a:t>
            </a:r>
            <a:r>
              <a:rPr lang="en-US" dirty="0"/>
              <a:t>F</a:t>
            </a:r>
            <a:r>
              <a:rPr lang="en-US" dirty="0">
                <a:latin typeface="Arial" pitchFamily="34" charset="0"/>
                <a:cs typeface="Arial" pitchFamily="34" charset="0"/>
              </a:rPr>
              <a:t>uture Work</a:t>
            </a:r>
          </a:p>
          <a:p>
            <a:endParaRPr lang="en-US" sz="28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7868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Conclu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D113EA-9FCF-0522-73EB-A846F99B9537}"/>
              </a:ext>
            </a:extLst>
          </p:cNvPr>
          <p:cNvSpPr txBox="1">
            <a:spLocks/>
          </p:cNvSpPr>
          <p:nvPr/>
        </p:nvSpPr>
        <p:spPr>
          <a:xfrm>
            <a:off x="695325" y="1318661"/>
            <a:ext cx="10586233" cy="41241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0658B"/>
                </a:solidFill>
              </a:rPr>
              <a:t>In areas of interest </a:t>
            </a:r>
          </a:p>
          <a:p>
            <a:pPr lvl="1">
              <a:spcBef>
                <a:spcPts val="0"/>
              </a:spcBef>
            </a:pPr>
            <a:r>
              <a:rPr lang="en-US" sz="2400" b="1" dirty="0">
                <a:solidFill>
                  <a:srgbClr val="000000"/>
                </a:solidFill>
              </a:rPr>
              <a:t>780 </a:t>
            </a:r>
            <a:r>
              <a:rPr lang="en-US" sz="2400" dirty="0">
                <a:solidFill>
                  <a:srgbClr val="000000"/>
                </a:solidFill>
              </a:rPr>
              <a:t>total potential UAS airports</a:t>
            </a:r>
            <a:endParaRPr lang="en-US" sz="2400" b="1" dirty="0">
              <a:solidFill>
                <a:srgbClr val="000000"/>
              </a:solidFill>
            </a:endParaRPr>
          </a:p>
          <a:p>
            <a:pPr lvl="1">
              <a:spcBef>
                <a:spcPts val="0"/>
              </a:spcBef>
            </a:pPr>
            <a:r>
              <a:rPr lang="en-US" sz="2400" b="1" dirty="0">
                <a:solidFill>
                  <a:srgbClr val="000000"/>
                </a:solidFill>
              </a:rPr>
              <a:t>Germany</a:t>
            </a:r>
            <a:r>
              <a:rPr lang="en-US" sz="2400" dirty="0">
                <a:solidFill>
                  <a:srgbClr val="000000"/>
                </a:solidFill>
              </a:rPr>
              <a:t> has </a:t>
            </a:r>
            <a:r>
              <a:rPr lang="en-US" sz="2400" b="1" dirty="0">
                <a:solidFill>
                  <a:srgbClr val="000000"/>
                </a:solidFill>
              </a:rPr>
              <a:t>more</a:t>
            </a:r>
            <a:r>
              <a:rPr lang="en-US" sz="2400" dirty="0">
                <a:solidFill>
                  <a:srgbClr val="000000"/>
                </a:solidFill>
              </a:rPr>
              <a:t> airports with </a:t>
            </a:r>
            <a:r>
              <a:rPr lang="en-US" sz="2400" b="1" dirty="0">
                <a:solidFill>
                  <a:srgbClr val="000000"/>
                </a:solidFill>
              </a:rPr>
              <a:t>UAS IAP (9)</a:t>
            </a:r>
            <a:r>
              <a:rPr lang="en-US" sz="2400" dirty="0">
                <a:solidFill>
                  <a:srgbClr val="000000"/>
                </a:solidFill>
              </a:rPr>
              <a:t>, but </a:t>
            </a:r>
            <a:r>
              <a:rPr lang="en-US" sz="2400" b="1" dirty="0">
                <a:solidFill>
                  <a:srgbClr val="000000"/>
                </a:solidFill>
              </a:rPr>
              <a:t>few</a:t>
            </a:r>
            <a:r>
              <a:rPr lang="en-US" sz="2400" dirty="0">
                <a:solidFill>
                  <a:srgbClr val="000000"/>
                </a:solidFill>
              </a:rPr>
              <a:t> current </a:t>
            </a:r>
            <a:r>
              <a:rPr lang="en-US" sz="2400" b="1" dirty="0">
                <a:solidFill>
                  <a:srgbClr val="000000"/>
                </a:solidFill>
              </a:rPr>
              <a:t>regional cargo operations</a:t>
            </a:r>
          </a:p>
          <a:p>
            <a:pPr lvl="1">
              <a:spcBef>
                <a:spcPts val="0"/>
              </a:spcBef>
            </a:pPr>
            <a:r>
              <a:rPr lang="en-US" sz="2400" b="1" dirty="0">
                <a:solidFill>
                  <a:srgbClr val="000000"/>
                </a:solidFill>
              </a:rPr>
              <a:t>Texas</a:t>
            </a:r>
            <a:r>
              <a:rPr lang="en-US" sz="2400" dirty="0">
                <a:solidFill>
                  <a:srgbClr val="000000"/>
                </a:solidFill>
              </a:rPr>
              <a:t> and </a:t>
            </a:r>
            <a:r>
              <a:rPr lang="en-US" sz="2400" b="1" dirty="0">
                <a:solidFill>
                  <a:srgbClr val="000000"/>
                </a:solidFill>
              </a:rPr>
              <a:t>California</a:t>
            </a:r>
            <a:r>
              <a:rPr lang="en-US" sz="2400" dirty="0">
                <a:solidFill>
                  <a:srgbClr val="000000"/>
                </a:solidFill>
              </a:rPr>
              <a:t> have </a:t>
            </a:r>
            <a:r>
              <a:rPr lang="en-US" sz="2400" b="1" dirty="0">
                <a:solidFill>
                  <a:srgbClr val="000000"/>
                </a:solidFill>
              </a:rPr>
              <a:t>only one airport </a:t>
            </a:r>
            <a:r>
              <a:rPr lang="en-US" sz="2400" dirty="0">
                <a:solidFill>
                  <a:srgbClr val="000000"/>
                </a:solidFill>
              </a:rPr>
              <a:t>each with </a:t>
            </a:r>
            <a:r>
              <a:rPr lang="en-US" sz="2400" b="1" dirty="0">
                <a:solidFill>
                  <a:srgbClr val="000000"/>
                </a:solidFill>
              </a:rPr>
              <a:t>UAS IAP</a:t>
            </a:r>
            <a:r>
              <a:rPr lang="en-US" sz="2400" dirty="0">
                <a:solidFill>
                  <a:srgbClr val="000000"/>
                </a:solidFill>
              </a:rPr>
              <a:t>, but much </a:t>
            </a:r>
            <a:r>
              <a:rPr lang="en-US" sz="2400" b="1" dirty="0">
                <a:solidFill>
                  <a:srgbClr val="000000"/>
                </a:solidFill>
              </a:rPr>
              <a:t>more robust regional cargo operations</a:t>
            </a:r>
            <a:endParaRPr lang="en-US" sz="2400" b="1" dirty="0">
              <a:solidFill>
                <a:srgbClr val="00658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0658B"/>
                </a:solidFill>
              </a:rPr>
              <a:t>To maximize potential of cargo UAS</a:t>
            </a:r>
          </a:p>
          <a:p>
            <a:pPr lvl="1"/>
            <a:r>
              <a:rPr lang="en-US" sz="2400" dirty="0">
                <a:solidFill>
                  <a:srgbClr val="000000"/>
                </a:solidFill>
              </a:rPr>
              <a:t>Need to </a:t>
            </a:r>
            <a:r>
              <a:rPr lang="en-US" sz="2400" b="1" dirty="0">
                <a:solidFill>
                  <a:srgbClr val="000000"/>
                </a:solidFill>
              </a:rPr>
              <a:t>increase</a:t>
            </a:r>
            <a:r>
              <a:rPr lang="en-US" sz="2400" dirty="0">
                <a:solidFill>
                  <a:srgbClr val="000000"/>
                </a:solidFill>
              </a:rPr>
              <a:t> number of airports with </a:t>
            </a:r>
            <a:r>
              <a:rPr lang="en-US" sz="2400" b="1" dirty="0">
                <a:solidFill>
                  <a:srgbClr val="000000"/>
                </a:solidFill>
              </a:rPr>
              <a:t>UAS IAP </a:t>
            </a:r>
            <a:r>
              <a:rPr lang="en-US" sz="2400" dirty="0">
                <a:solidFill>
                  <a:srgbClr val="000000"/>
                </a:solidFill>
              </a:rPr>
              <a:t>and/or </a:t>
            </a:r>
          </a:p>
          <a:p>
            <a:pPr lvl="1"/>
            <a:r>
              <a:rPr lang="en-US" sz="2400" dirty="0">
                <a:solidFill>
                  <a:srgbClr val="000000"/>
                </a:solidFill>
              </a:rPr>
              <a:t>Advance </a:t>
            </a:r>
            <a:r>
              <a:rPr lang="en-US" sz="2400" b="1" dirty="0" err="1">
                <a:solidFill>
                  <a:srgbClr val="000000"/>
                </a:solidFill>
              </a:rPr>
              <a:t>autoland</a:t>
            </a:r>
            <a:r>
              <a:rPr lang="en-US" sz="2400" b="1" dirty="0">
                <a:solidFill>
                  <a:srgbClr val="000000"/>
                </a:solidFill>
              </a:rPr>
              <a:t> technologies</a:t>
            </a:r>
            <a:r>
              <a:rPr lang="en-US" sz="2400" dirty="0">
                <a:solidFill>
                  <a:srgbClr val="000000"/>
                </a:solidFill>
              </a:rPr>
              <a:t>, such as vision-based landing systems and</a:t>
            </a:r>
          </a:p>
          <a:p>
            <a:pPr lvl="1"/>
            <a:r>
              <a:rPr lang="en-US" sz="2400" dirty="0">
                <a:solidFill>
                  <a:srgbClr val="000000"/>
                </a:solidFill>
              </a:rPr>
              <a:t>Need to be able to integrate into </a:t>
            </a:r>
            <a:r>
              <a:rPr lang="en-US" sz="2400" b="1" dirty="0">
                <a:solidFill>
                  <a:srgbClr val="000000"/>
                </a:solidFill>
              </a:rPr>
              <a:t>non-towered</a:t>
            </a:r>
            <a:r>
              <a:rPr lang="en-US" sz="2400" dirty="0">
                <a:solidFill>
                  <a:srgbClr val="000000"/>
                </a:solidFill>
              </a:rPr>
              <a:t> environments</a:t>
            </a:r>
          </a:p>
          <a:p>
            <a:pPr lvl="1"/>
            <a:endParaRPr lang="en-US" sz="1800" dirty="0">
              <a:solidFill>
                <a:srgbClr val="000000"/>
              </a:solidFill>
            </a:endParaRPr>
          </a:p>
          <a:p>
            <a:pPr lvl="1"/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513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spcBef>
                <a:spcPts val="1600"/>
              </a:spcBef>
            </a:pPr>
            <a:r>
              <a:rPr lang="en-US" sz="3200" dirty="0">
                <a:solidFill>
                  <a:srgbClr val="00658B"/>
                </a:solidFill>
              </a:rPr>
              <a:t>Future Work and Next Steps</a:t>
            </a:r>
            <a:br>
              <a:rPr lang="en-US" sz="3200" dirty="0">
                <a:solidFill>
                  <a:srgbClr val="00658B"/>
                </a:solidFill>
              </a:rPr>
            </a:br>
            <a:endParaRPr lang="en-US" sz="2800" dirty="0">
              <a:solidFill>
                <a:srgbClr val="00658B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3" y="1276566"/>
            <a:ext cx="11147734" cy="4895850"/>
          </a:xfrm>
        </p:spPr>
        <p:txBody>
          <a:bodyPr>
            <a:normAutofit/>
          </a:bodyPr>
          <a:lstStyle/>
          <a:p>
            <a:r>
              <a:rPr lang="en-US" sz="2800" dirty="0"/>
              <a:t>Baseline established, how to extend?</a:t>
            </a:r>
          </a:p>
          <a:p>
            <a:r>
              <a:rPr lang="en-US" sz="2800" dirty="0"/>
              <a:t>Could extend by using different landing systems, increasing traffic</a:t>
            </a:r>
          </a:p>
          <a:p>
            <a:r>
              <a:rPr lang="en-US" sz="2800" dirty="0"/>
              <a:t>Extend by including more factors:</a:t>
            </a:r>
          </a:p>
          <a:p>
            <a:pPr lvl="1"/>
            <a:r>
              <a:rPr lang="en-US" sz="2400" dirty="0"/>
              <a:t>Availability of reliable command and control (C2) link performance</a:t>
            </a:r>
          </a:p>
          <a:p>
            <a:pPr lvl="1"/>
            <a:r>
              <a:rPr lang="en-US" sz="2400" dirty="0"/>
              <a:t>Interactions with (non-)cooperative aircraft</a:t>
            </a:r>
          </a:p>
          <a:p>
            <a:pPr lvl="1"/>
            <a:r>
              <a:rPr lang="en-US" sz="2400" dirty="0"/>
              <a:t>Availability of contingency airport(s)</a:t>
            </a:r>
          </a:p>
          <a:p>
            <a:pPr lvl="1"/>
            <a:r>
              <a:rPr lang="en-US" sz="2400" dirty="0"/>
              <a:t>Plans to mitigate the loss of the C2 link</a:t>
            </a:r>
          </a:p>
          <a:p>
            <a:r>
              <a:rPr lang="en-US" sz="2800" dirty="0"/>
              <a:t>Fast-time simulations to assess the impact of cargo UAS and various factors on surrounding traffic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819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892" y="2176085"/>
            <a:ext cx="3256960" cy="985286"/>
          </a:xfrm>
        </p:spPr>
        <p:txBody>
          <a:bodyPr vert="horz">
            <a:normAutofit/>
          </a:bodyPr>
          <a:lstStyle/>
          <a:p>
            <a:pPr>
              <a:spcBef>
                <a:spcPts val="1600"/>
              </a:spcBef>
            </a:pPr>
            <a:r>
              <a:rPr lang="en-US" sz="4400" dirty="0">
                <a:solidFill>
                  <a:srgbClr val="00658B"/>
                </a:solidFill>
              </a:rPr>
              <a:t>Thank You!</a:t>
            </a:r>
            <a:endParaRPr lang="en-US" sz="4000" dirty="0">
              <a:solidFill>
                <a:srgbClr val="0065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5C5812D-7EF6-5210-A4F2-143EFE1B7D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0137" y="3334215"/>
            <a:ext cx="4746470" cy="985286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 err="1"/>
              <a:t>tim.sievers@dlr.de</a:t>
            </a:r>
            <a:endParaRPr lang="en-US" dirty="0"/>
          </a:p>
          <a:p>
            <a:pPr marL="0" indent="0" algn="ctr">
              <a:buNone/>
            </a:pPr>
            <a:r>
              <a:rPr lang="en-US" dirty="0" err="1"/>
              <a:t>jordan.a.sakakeeny@nasa.gov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3499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78604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Characteristics of Regional Cargo UAS</a:t>
            </a:r>
            <a:br>
              <a:rPr lang="en-US" sz="2400" dirty="0"/>
            </a:br>
            <a:r>
              <a:rPr lang="en-US" sz="2400" dirty="0"/>
              <a:t>Regional Aircraft Type Comparison – Europe/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32D4A427-E733-C874-67B9-3F0DA36550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991580"/>
              </p:ext>
            </p:extLst>
          </p:nvPr>
        </p:nvGraphicFramePr>
        <p:xfrm>
          <a:off x="802453" y="1269044"/>
          <a:ext cx="6588948" cy="5120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1975">
                  <a:extLst>
                    <a:ext uri="{9D8B030D-6E8A-4147-A177-3AD203B41FA5}">
                      <a16:colId xmlns:a16="http://schemas.microsoft.com/office/drawing/2014/main" val="1266235391"/>
                    </a:ext>
                  </a:extLst>
                </a:gridCol>
                <a:gridCol w="2720479">
                  <a:extLst>
                    <a:ext uri="{9D8B030D-6E8A-4147-A177-3AD203B41FA5}">
                      <a16:colId xmlns:a16="http://schemas.microsoft.com/office/drawing/2014/main" val="658315441"/>
                    </a:ext>
                  </a:extLst>
                </a:gridCol>
                <a:gridCol w="1360239">
                  <a:extLst>
                    <a:ext uri="{9D8B030D-6E8A-4147-A177-3AD203B41FA5}">
                      <a16:colId xmlns:a16="http://schemas.microsoft.com/office/drawing/2014/main" val="2971794887"/>
                    </a:ext>
                  </a:extLst>
                </a:gridCol>
                <a:gridCol w="1186255">
                  <a:extLst>
                    <a:ext uri="{9D8B030D-6E8A-4147-A177-3AD203B41FA5}">
                      <a16:colId xmlns:a16="http://schemas.microsoft.com/office/drawing/2014/main" val="2103500770"/>
                    </a:ext>
                  </a:extLst>
                </a:gridCol>
              </a:tblGrid>
              <a:tr h="386789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Domestic flight movements </a:t>
                      </a: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by regional aircraft</a:t>
                      </a:r>
                      <a:endParaRPr lang="de-DE" sz="1400" b="1" i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Europe</a:t>
                      </a:r>
                      <a:endParaRPr lang="de-DE" sz="1400" b="1" i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US</a:t>
                      </a:r>
                      <a:endParaRPr lang="de-DE" sz="1400" b="1" i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4195752"/>
                  </a:ext>
                </a:extLst>
              </a:tr>
              <a:tr h="193394">
                <a:tc rowSpan="11"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All operations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Total flights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246,796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1,313,204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1375866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ATR 42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6.9%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0.7%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74387276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ATR 72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16.9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0.6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42726534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Bombardier CL-600 (jet)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15.0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0.2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76588738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Bombardier Dash 8-100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52.6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1.0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22549633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</a:rPr>
                        <a:t>Embraer EMB 120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1.4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-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6552222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Embraer ERJ 145 (jet)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1.8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19.5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62407347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Cessna 208/208B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23.5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36817112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Cessna 402 (piston)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5.8%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58302106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</a:rPr>
                        <a:t>Beech 18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0.9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10052979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Canadair RJ200 (jet)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22.9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47625248"/>
                  </a:ext>
                </a:extLst>
              </a:tr>
              <a:tr h="193394">
                <a:tc rowSpan="11"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Cargo-only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Total flights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10,529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155,266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3618135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</a:rPr>
                        <a:t>ATR 42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23.6%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1.6%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18862593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ATR 72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43.4%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3.3%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15945599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</a:rPr>
                        <a:t>Bombardier CL-600 (jet)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8.7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&lt;0.1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95346218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Bombardier Dash 8-100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&lt;0.1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71959268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Embraer EMB 120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21.9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-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904307001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Embraer ERJ 145 (jet)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19856982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Cessna 208/208B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56.0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24624167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Cessna 402 (piston)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-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1.3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21504734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</a:rPr>
                        <a:t>Beech 18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11.4%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7499126"/>
                  </a:ext>
                </a:extLst>
              </a:tr>
              <a:tr h="193394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effectLst/>
                        </a:rPr>
                        <a:t>Canadair RJ200 (jet)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>
                          <a:effectLst/>
                        </a:rPr>
                        <a:t>-</a:t>
                      </a:r>
                      <a:endParaRPr lang="de-DE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</a:rPr>
                        <a:t>0.6%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17889797"/>
                  </a:ext>
                </a:extLst>
              </a:tr>
            </a:tbl>
          </a:graphicData>
        </a:graphic>
      </p:graphicFrame>
      <p:sp>
        <p:nvSpPr>
          <p:cNvPr id="9" name="Rectangle 11">
            <a:extLst>
              <a:ext uri="{FF2B5EF4-FFF2-40B4-BE49-F238E27FC236}">
                <a16:creationId xmlns:a16="http://schemas.microsoft.com/office/drawing/2014/main" id="{2EFD5A09-56DB-C74B-5691-A7D9EFE92849}"/>
              </a:ext>
            </a:extLst>
          </p:cNvPr>
          <p:cNvSpPr/>
          <p:nvPr/>
        </p:nvSpPr>
        <p:spPr>
          <a:xfrm rot="5400000">
            <a:off x="5110163" y="1669646"/>
            <a:ext cx="839963" cy="1329830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BE5EA4E1-0DAE-4E09-FA48-F4B472BDBB3B}"/>
              </a:ext>
            </a:extLst>
          </p:cNvPr>
          <p:cNvSpPr/>
          <p:nvPr/>
        </p:nvSpPr>
        <p:spPr>
          <a:xfrm rot="5400000">
            <a:off x="6487116" y="2712466"/>
            <a:ext cx="635086" cy="1173481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3015996A-AE4D-396F-D86F-0B1F87C57683}"/>
              </a:ext>
            </a:extLst>
          </p:cNvPr>
          <p:cNvSpPr/>
          <p:nvPr/>
        </p:nvSpPr>
        <p:spPr>
          <a:xfrm rot="5400000">
            <a:off x="5326246" y="3805971"/>
            <a:ext cx="407798" cy="1329831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2A72EB-4D94-95A4-1A12-B741BE6627EA}"/>
              </a:ext>
            </a:extLst>
          </p:cNvPr>
          <p:cNvSpPr/>
          <p:nvPr/>
        </p:nvSpPr>
        <p:spPr>
          <a:xfrm rot="5400000">
            <a:off x="5421533" y="4566907"/>
            <a:ext cx="217223" cy="1329831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4C22B82A-8140-F34E-7EBE-F84CB34009BA}"/>
              </a:ext>
            </a:extLst>
          </p:cNvPr>
          <p:cNvSpPr/>
          <p:nvPr/>
        </p:nvSpPr>
        <p:spPr>
          <a:xfrm rot="5400000">
            <a:off x="6696047" y="5061094"/>
            <a:ext cx="217225" cy="1173481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88EF7407-6077-3798-A79E-F01BA3A5C181}"/>
              </a:ext>
            </a:extLst>
          </p:cNvPr>
          <p:cNvSpPr/>
          <p:nvPr/>
        </p:nvSpPr>
        <p:spPr>
          <a:xfrm rot="5400000">
            <a:off x="6696047" y="5486326"/>
            <a:ext cx="217225" cy="1173481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8C241861-874D-0488-C9F9-F99B8359246D}"/>
              </a:ext>
            </a:extLst>
          </p:cNvPr>
          <p:cNvSpPr/>
          <p:nvPr/>
        </p:nvSpPr>
        <p:spPr>
          <a:xfrm rot="5400000">
            <a:off x="6696045" y="3346631"/>
            <a:ext cx="217225" cy="1173480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22CC76C-606F-3408-B006-16DA58A019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8528" y="1967670"/>
            <a:ext cx="4228983" cy="39090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rgbClr val="00658B"/>
                </a:solidFill>
              </a:rPr>
              <a:t>Domestic cargo-only flights:</a:t>
            </a:r>
          </a:p>
        </p:txBody>
      </p:sp>
      <p:sp>
        <p:nvSpPr>
          <p:cNvPr id="26" name="Rectangle 11">
            <a:extLst>
              <a:ext uri="{FF2B5EF4-FFF2-40B4-BE49-F238E27FC236}">
                <a16:creationId xmlns:a16="http://schemas.microsoft.com/office/drawing/2014/main" id="{0AE3E8DB-C698-88FA-3C7B-79958861C5F8}"/>
              </a:ext>
            </a:extLst>
          </p:cNvPr>
          <p:cNvSpPr/>
          <p:nvPr/>
        </p:nvSpPr>
        <p:spPr>
          <a:xfrm rot="5400000">
            <a:off x="5421532" y="4118482"/>
            <a:ext cx="217223" cy="1329831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4699B42F-E713-BFF7-5C63-3B8309A1E59E}"/>
              </a:ext>
            </a:extLst>
          </p:cNvPr>
          <p:cNvSpPr txBox="1">
            <a:spLocks/>
          </p:cNvSpPr>
          <p:nvPr/>
        </p:nvSpPr>
        <p:spPr>
          <a:xfrm>
            <a:off x="7498528" y="2339582"/>
            <a:ext cx="4228983" cy="985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ATR 42, ATR 72, and Embraer EMB 120 regional turboprop aircraft account for </a:t>
            </a:r>
            <a:r>
              <a:rPr lang="en-US" sz="1800" b="1" dirty="0"/>
              <a:t>89% in Europ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E3F55AF-3C77-1FD2-5F0F-C0F50199D64D}"/>
              </a:ext>
            </a:extLst>
          </p:cNvPr>
          <p:cNvSpPr txBox="1">
            <a:spLocks/>
          </p:cNvSpPr>
          <p:nvPr/>
        </p:nvSpPr>
        <p:spPr>
          <a:xfrm>
            <a:off x="7498525" y="3268052"/>
            <a:ext cx="4228983" cy="8574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Cessna 208/208B and Beech 18* regional turboprop aircraft account for </a:t>
            </a:r>
            <a:r>
              <a:rPr lang="en-US" sz="1800" b="1" dirty="0"/>
              <a:t>67% in the US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A80F4B3-C917-BF62-1C0B-00C940E6E27A}"/>
              </a:ext>
            </a:extLst>
          </p:cNvPr>
          <p:cNvSpPr txBox="1">
            <a:spLocks/>
          </p:cNvSpPr>
          <p:nvPr/>
        </p:nvSpPr>
        <p:spPr>
          <a:xfrm>
            <a:off x="7498527" y="4182777"/>
            <a:ext cx="4228983" cy="6502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Only </a:t>
            </a:r>
            <a:r>
              <a:rPr lang="en-US" sz="1800" b="1" dirty="0"/>
              <a:t>8.7%</a:t>
            </a:r>
            <a:r>
              <a:rPr lang="en-US" sz="1800" dirty="0"/>
              <a:t> are operated by </a:t>
            </a:r>
            <a:r>
              <a:rPr lang="en-US" sz="1800" b="1" dirty="0"/>
              <a:t>regional</a:t>
            </a:r>
            <a:r>
              <a:rPr lang="en-US" sz="1800" dirty="0"/>
              <a:t> </a:t>
            </a:r>
            <a:r>
              <a:rPr lang="en-US" sz="1800" b="1" dirty="0"/>
              <a:t>jet aircraft </a:t>
            </a:r>
            <a:r>
              <a:rPr lang="en-US" sz="1800" dirty="0"/>
              <a:t>(CL-600) in </a:t>
            </a:r>
            <a:r>
              <a:rPr lang="en-US" sz="1800" b="1" dirty="0"/>
              <a:t>Europ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ED5220E1-D892-0524-BD8E-6C4C4D30A006}"/>
              </a:ext>
            </a:extLst>
          </p:cNvPr>
          <p:cNvSpPr txBox="1">
            <a:spLocks/>
          </p:cNvSpPr>
          <p:nvPr/>
        </p:nvSpPr>
        <p:spPr>
          <a:xfrm>
            <a:off x="7498524" y="4841110"/>
            <a:ext cx="4228983" cy="7133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&lt;1%</a:t>
            </a:r>
            <a:r>
              <a:rPr lang="en-US" sz="1800" dirty="0"/>
              <a:t> is operated </a:t>
            </a:r>
            <a:r>
              <a:rPr lang="en-US" sz="1800" b="1" dirty="0"/>
              <a:t>by regional jet aircraft </a:t>
            </a:r>
            <a:r>
              <a:rPr lang="en-US" sz="1800" dirty="0"/>
              <a:t>(Cl-600, RJ200) in the </a:t>
            </a:r>
            <a:r>
              <a:rPr lang="en-US" sz="1800" b="1" dirty="0"/>
              <a:t>US</a:t>
            </a:r>
          </a:p>
        </p:txBody>
      </p:sp>
      <p:sp>
        <p:nvSpPr>
          <p:cNvPr id="33" name="Rectangle 11">
            <a:extLst>
              <a:ext uri="{FF2B5EF4-FFF2-40B4-BE49-F238E27FC236}">
                <a16:creationId xmlns:a16="http://schemas.microsoft.com/office/drawing/2014/main" id="{69728751-C839-539C-F01B-0F79F46D8D69}"/>
              </a:ext>
            </a:extLst>
          </p:cNvPr>
          <p:cNvSpPr/>
          <p:nvPr/>
        </p:nvSpPr>
        <p:spPr>
          <a:xfrm rot="5400000">
            <a:off x="6691328" y="4196656"/>
            <a:ext cx="217225" cy="1173481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11">
            <a:extLst>
              <a:ext uri="{FF2B5EF4-FFF2-40B4-BE49-F238E27FC236}">
                <a16:creationId xmlns:a16="http://schemas.microsoft.com/office/drawing/2014/main" id="{310BC64B-96B5-7531-B84C-BCE0C61CA69C}"/>
              </a:ext>
            </a:extLst>
          </p:cNvPr>
          <p:cNvSpPr/>
          <p:nvPr/>
        </p:nvSpPr>
        <p:spPr>
          <a:xfrm rot="5400000">
            <a:off x="6695484" y="5702189"/>
            <a:ext cx="217225" cy="1173481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feld 6">
            <a:extLst>
              <a:ext uri="{FF2B5EF4-FFF2-40B4-BE49-F238E27FC236}">
                <a16:creationId xmlns:a16="http://schemas.microsoft.com/office/drawing/2014/main" id="{C31F0065-5EE5-5BE9-49E6-1764790A0D37}"/>
              </a:ext>
            </a:extLst>
          </p:cNvPr>
          <p:cNvSpPr txBox="1"/>
          <p:nvPr/>
        </p:nvSpPr>
        <p:spPr>
          <a:xfrm>
            <a:off x="802453" y="6458929"/>
            <a:ext cx="891681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100" b="1" dirty="0">
                <a:solidFill>
                  <a:srgbClr val="000000"/>
                </a:solidFill>
              </a:rPr>
              <a:t>All operations flights 	</a:t>
            </a:r>
            <a:r>
              <a:rPr lang="en-US" sz="1100" dirty="0">
                <a:solidFill>
                  <a:srgbClr val="000000"/>
                </a:solidFill>
              </a:rPr>
              <a:t>= Commercial flight movements with passengers and/or cargo on board</a:t>
            </a:r>
          </a:p>
          <a:p>
            <a:pPr lvl="0"/>
            <a:r>
              <a:rPr lang="en-US" sz="1100" b="1" dirty="0">
                <a:solidFill>
                  <a:srgbClr val="000000"/>
                </a:solidFill>
              </a:rPr>
              <a:t>Cargo-only flights 	</a:t>
            </a:r>
            <a:r>
              <a:rPr lang="en-US" sz="1100" dirty="0">
                <a:solidFill>
                  <a:srgbClr val="000000"/>
                </a:solidFill>
              </a:rPr>
              <a:t>= No passengers on board, only cargo (consisting of freight and mail)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01D9786F-464B-C717-BF79-97FAA6FFC98A}"/>
              </a:ext>
            </a:extLst>
          </p:cNvPr>
          <p:cNvSpPr txBox="1"/>
          <p:nvPr/>
        </p:nvSpPr>
        <p:spPr>
          <a:xfrm>
            <a:off x="1091609" y="693951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2612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6" grpId="0" animBg="1"/>
      <p:bldP spid="16" grpId="1" animBg="1"/>
      <p:bldP spid="17" grpId="0" build="p"/>
      <p:bldP spid="26" grpId="0" animBg="1"/>
      <p:bldP spid="26" grpId="1" animBg="1"/>
      <p:bldP spid="27" grpId="0"/>
      <p:bldP spid="28" grpId="0"/>
      <p:bldP spid="29" grpId="0"/>
      <p:bldP spid="30" grpId="0"/>
      <p:bldP spid="33" grpId="0" animBg="1"/>
      <p:bldP spid="34" grpId="0" animBg="1"/>
      <p:bldP spid="3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1250318" cy="985286"/>
          </a:xfrm>
        </p:spPr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Characteristics of Regional </a:t>
            </a:r>
            <a:r>
              <a:rPr lang="en-US" sz="3200" dirty="0">
                <a:solidFill>
                  <a:srgbClr val="00658B"/>
                </a:solidFill>
              </a:rPr>
              <a:t>A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ir </a:t>
            </a:r>
            <a:r>
              <a:rPr lang="en-US" sz="3200" dirty="0">
                <a:solidFill>
                  <a:srgbClr val="00658B"/>
                </a:solidFill>
              </a:rPr>
              <a:t>C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rgo </a:t>
            </a:r>
            <a:r>
              <a:rPr lang="en-US" sz="3200" dirty="0">
                <a:solidFill>
                  <a:srgbClr val="00658B"/>
                </a:solidFill>
              </a:rPr>
              <a:t>O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perations</a:t>
            </a:r>
            <a:endParaRPr lang="en-US" sz="3600" dirty="0">
              <a:solidFill>
                <a:srgbClr val="0065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hteck 256">
            <a:extLst>
              <a:ext uri="{FF2B5EF4-FFF2-40B4-BE49-F238E27FC236}">
                <a16:creationId xmlns:a16="http://schemas.microsoft.com/office/drawing/2014/main" id="{3DAB7E4F-A449-6866-C38C-839254C0FEB5}"/>
              </a:ext>
            </a:extLst>
          </p:cNvPr>
          <p:cNvSpPr/>
          <p:nvPr/>
        </p:nvSpPr>
        <p:spPr>
          <a:xfrm>
            <a:off x="6677163" y="4886126"/>
            <a:ext cx="2484545" cy="7091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C235F9-9E0F-0A39-1802-CD9A9D2F7C4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75181" y="2995112"/>
            <a:ext cx="2785459" cy="278545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FF4DFD-C396-1F42-7B5D-12EFFA37C9E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85247" y="1720628"/>
            <a:ext cx="2782950" cy="2782950"/>
          </a:xfrm>
          <a:prstGeom prst="rect">
            <a:avLst/>
          </a:prstGeom>
        </p:spPr>
      </p:pic>
      <p:cxnSp>
        <p:nvCxnSpPr>
          <p:cNvPr id="13" name="Gerade Verbindung 299">
            <a:extLst>
              <a:ext uri="{FF2B5EF4-FFF2-40B4-BE49-F238E27FC236}">
                <a16:creationId xmlns:a16="http://schemas.microsoft.com/office/drawing/2014/main" id="{E3A7DFFD-62D2-B870-9AD1-281F1ACE2526}"/>
              </a:ext>
            </a:extLst>
          </p:cNvPr>
          <p:cNvCxnSpPr>
            <a:cxnSpLocks/>
            <a:stCxn id="35" idx="0"/>
            <a:endCxn id="19" idx="1"/>
          </p:cNvCxnSpPr>
          <p:nvPr/>
        </p:nvCxnSpPr>
        <p:spPr>
          <a:xfrm flipV="1">
            <a:off x="2041573" y="3866373"/>
            <a:ext cx="1412462" cy="1056793"/>
          </a:xfrm>
          <a:prstGeom prst="line">
            <a:avLst/>
          </a:prstGeom>
          <a:ln w="19050"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7">
            <a:extLst>
              <a:ext uri="{FF2B5EF4-FFF2-40B4-BE49-F238E27FC236}">
                <a16:creationId xmlns:a16="http://schemas.microsoft.com/office/drawing/2014/main" id="{66D4F450-6897-B194-4ECF-AB75AA226437}"/>
              </a:ext>
            </a:extLst>
          </p:cNvPr>
          <p:cNvSpPr/>
          <p:nvPr/>
        </p:nvSpPr>
        <p:spPr>
          <a:xfrm>
            <a:off x="447969" y="856882"/>
            <a:ext cx="11461456" cy="255608"/>
          </a:xfrm>
          <a:prstGeom prst="rect">
            <a:avLst/>
          </a:prstGeom>
          <a:solidFill>
            <a:srgbClr val="0065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924D3741-7E79-D1E0-2955-D97AE2DD41FC}"/>
              </a:ext>
            </a:extLst>
          </p:cNvPr>
          <p:cNvSpPr txBox="1">
            <a:spLocks/>
          </p:cNvSpPr>
          <p:nvPr/>
        </p:nvSpPr>
        <p:spPr>
          <a:xfrm>
            <a:off x="695326" y="333375"/>
            <a:ext cx="11214099" cy="9852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382C5AC9-DE6C-5430-9D0A-7E6A22AB411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41615" y="1960086"/>
            <a:ext cx="868825" cy="47840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7F0B42A8-47D9-4395-BAE3-EF9DD67FDD70}" type="datetime'''''''''6''''''''''''''''''0'''',''''422''''''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EE553B"/>
                </a:highlight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60,422</a:t>
            </a:fld>
            <a:b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EE553B"/>
                </a:highlight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EE553B"/>
                </a:highlight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fld id="{CAF5C22B-0701-4505-8B70-8B699AAABCB7}" type="datetime'''''''''''''''''1''0''''''''''.''37''''''''''''''%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EE553B"/>
                </a:highlight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10.37%</a:t>
            </a:fld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EE553B"/>
                </a:highlight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EE553B"/>
              </a:highlight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91AF8C94-10CA-2A0D-B8E3-354B960DA2D3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98503" y="3634756"/>
            <a:ext cx="788278" cy="498272"/>
          </a:xfrm>
          <a:prstGeom prst="rect">
            <a:avLst/>
          </a:prstGeom>
          <a:solidFill>
            <a:srgbClr val="636EF9"/>
          </a:solidFill>
          <a:ln>
            <a:noFill/>
          </a:ln>
          <a:effectLst/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2156C6E2-D957-4709-9598-C2D5F55C4BEF}" type="datetime'''''''5''''''''''''''''''''''2''''2'''''''',2''''''38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522,238</a:t>
            </a:fld>
            <a:b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fld id="{90A8EE2D-5BD4-424D-81FA-676E692A55AE}" type="datetime'''''''''''8''9''''''''.''''''''''63''''''%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89.63%</a:t>
            </a:fld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C28C2BF5-2101-4E4C-6978-5D1406FAA1D5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08880" y="2995112"/>
            <a:ext cx="723085" cy="165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A3AA59C4-E937-4609-A359-219EA31C656C}" type="datetime'5''''''''''8''''2'''''''''''''''''''',''''6''''6''''''0''''''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582,660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179EB15A-A58A-742A-B748-D402A9DB9772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454035" y="3599718"/>
            <a:ext cx="794691" cy="533309"/>
          </a:xfrm>
          <a:prstGeom prst="rect">
            <a:avLst/>
          </a:prstGeom>
          <a:solidFill>
            <a:srgbClr val="EE553B"/>
          </a:solidFill>
          <a:ln>
            <a:noFill/>
          </a:ln>
          <a:effectLst/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3BE8D01E-DF29-456B-AC8E-D9A93FF56DBF}" type="datetime'''''''''''''2''''''''''''''''''''5,''2''''''99''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25,299</a:t>
            </a:fld>
            <a:b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fld id="{1A514E40-FD1B-49D4-B1E1-71B954CDE155}" type="datetime'''''''2''8.''''''''''''''''1''''''''''''''2''''''''''%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28.12%</a:t>
            </a:fld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2DFCBF63-8FBB-F89F-E95F-43AE77558300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91244" y="4808566"/>
            <a:ext cx="442913" cy="244475"/>
          </a:xfrm>
          <a:prstGeom prst="rect">
            <a:avLst/>
          </a:prstGeom>
          <a:solidFill>
            <a:srgbClr val="636EF9"/>
          </a:solidFill>
          <a:ln>
            <a:noFill/>
          </a:ln>
          <a:effectLst/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05531CDD-E799-479A-8348-67F6737BF25E}" type="datetime'''''64'''''''''''''''''''',6''''''''''''''''''''''''77'''">
              <a:rPr kumimoji="0" lang="de-DE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64,677</a:t>
            </a:fld>
            <a:b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fld id="{F3B47609-406B-4261-A586-D29FC068EB26}" type="datetime'''''''''''''''''''7''1''''.''''''''8''8''''''''''%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71.88%</a:t>
            </a:fld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extfeld 159">
            <a:extLst>
              <a:ext uri="{FF2B5EF4-FFF2-40B4-BE49-F238E27FC236}">
                <a16:creationId xmlns:a16="http://schemas.microsoft.com/office/drawing/2014/main" id="{BC5538C0-BE95-1C7D-B107-CEE92A6DC377}"/>
              </a:ext>
            </a:extLst>
          </p:cNvPr>
          <p:cNvSpPr txBox="1"/>
          <p:nvPr/>
        </p:nvSpPr>
        <p:spPr>
          <a:xfrm>
            <a:off x="3539835" y="2503659"/>
            <a:ext cx="211930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mestic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uropean cargo flight movements</a:t>
            </a:r>
          </a:p>
        </p:txBody>
      </p:sp>
      <p:sp>
        <p:nvSpPr>
          <p:cNvPr id="22" name="Textfeld 160">
            <a:extLst>
              <a:ext uri="{FF2B5EF4-FFF2-40B4-BE49-F238E27FC236}">
                <a16:creationId xmlns:a16="http://schemas.microsoft.com/office/drawing/2014/main" id="{3E749089-43F5-6859-B17B-1F8EA42F3C1C}"/>
              </a:ext>
            </a:extLst>
          </p:cNvPr>
          <p:cNvSpPr txBox="1"/>
          <p:nvPr/>
        </p:nvSpPr>
        <p:spPr>
          <a:xfrm>
            <a:off x="289083" y="1230460"/>
            <a:ext cx="294303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tal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uropean cargo flight movements (intra- and extra-Europe)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8FF41EDC-CFD3-CF8C-A8FC-DD3B2C78CBEF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417662" y="4325456"/>
            <a:ext cx="327025" cy="1222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716D0D57-AD2A-4F6D-850D-B72F2E1E8D68}" type="datetime'8''''9'',976'''">
              <a:rPr kumimoji="0" lang="de-D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89,976</a:t>
            </a:fld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24" name="Textfeld 2">
            <a:extLst>
              <a:ext uri="{FF2B5EF4-FFF2-40B4-BE49-F238E27FC236}">
                <a16:creationId xmlns:a16="http://schemas.microsoft.com/office/drawing/2014/main" id="{EF40DC2E-2EA2-6327-E478-2E1EFD6A2814}"/>
              </a:ext>
            </a:extLst>
          </p:cNvPr>
          <p:cNvSpPr txBox="1"/>
          <p:nvPr/>
        </p:nvSpPr>
        <p:spPr>
          <a:xfrm>
            <a:off x="4788734" y="6616930"/>
            <a:ext cx="611703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ources: Eurostat, 2022; Bureau of Transportation Statistics, 2022</a:t>
            </a:r>
          </a:p>
        </p:txBody>
      </p:sp>
      <p:sp>
        <p:nvSpPr>
          <p:cNvPr id="25" name="Rechteck 22">
            <a:extLst>
              <a:ext uri="{FF2B5EF4-FFF2-40B4-BE49-F238E27FC236}">
                <a16:creationId xmlns:a16="http://schemas.microsoft.com/office/drawing/2014/main" id="{DF95CB22-02F5-38BE-B663-6F2426E9F3C8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401726" y="6124515"/>
            <a:ext cx="142875" cy="106363"/>
          </a:xfrm>
          <a:prstGeom prst="rect">
            <a:avLst/>
          </a:prstGeom>
          <a:solidFill>
            <a:srgbClr val="EE553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69C8D6EE-4590-27A9-FB9C-3FA528B115E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496472" y="6124514"/>
            <a:ext cx="142875" cy="106363"/>
          </a:xfrm>
          <a:prstGeom prst="rect">
            <a:avLst/>
          </a:prstGeom>
          <a:solidFill>
            <a:srgbClr val="636EF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1B158AD3-7692-BCC6-5DC8-84BA1D945AF6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6595401" y="6119753"/>
            <a:ext cx="742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2FF5B46E-C0F5-454C-A65D-FB5109044659}" type="datetime'R''''egi''ona''l ''air''cr''''''''''''''''''''aft''''''''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Regional aircraft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83F03B79-DB57-EDFF-0F90-5040A4202D3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704135" y="6103216"/>
            <a:ext cx="923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6F7A297C-6276-4CC1-9C7E-862960BABEC6}" type="datetime'''''''N''''o''n-''''re''gio''na''''''l air''c''r''''af''t'''''">
              <a:rPr kumimoji="0" lang="de-D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Non-regional aircraft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Foliennummernplatzhalter 8">
            <a:extLst>
              <a:ext uri="{FF2B5EF4-FFF2-40B4-BE49-F238E27FC236}">
                <a16:creationId xmlns:a16="http://schemas.microsoft.com/office/drawing/2014/main" id="{EDBFF61C-F432-4E2A-B8E4-87DB16F50749}"/>
              </a:ext>
            </a:extLst>
          </p:cNvPr>
          <p:cNvSpPr txBox="1">
            <a:spLocks/>
          </p:cNvSpPr>
          <p:nvPr/>
        </p:nvSpPr>
        <p:spPr>
          <a:xfrm>
            <a:off x="0" y="5342399"/>
            <a:ext cx="288000" cy="1440000"/>
          </a:xfrm>
          <a:prstGeom prst="rect">
            <a:avLst/>
          </a:prstGeom>
        </p:spPr>
        <p:txBody>
          <a:bodyPr vert="horz" wrap="none" lIns="36000" tIns="90000" rIns="36000" bIns="90000" rtlCol="0" anchor="b">
            <a:norm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Rechteck 11">
            <a:extLst>
              <a:ext uri="{FF2B5EF4-FFF2-40B4-BE49-F238E27FC236}">
                <a16:creationId xmlns:a16="http://schemas.microsoft.com/office/drawing/2014/main" id="{BA5C677D-A37D-3B35-AB8F-F2059F73E316}"/>
              </a:ext>
            </a:extLst>
          </p:cNvPr>
          <p:cNvSpPr/>
          <p:nvPr/>
        </p:nvSpPr>
        <p:spPr>
          <a:xfrm rot="5400000">
            <a:off x="3779130" y="3424061"/>
            <a:ext cx="4884036" cy="155042"/>
          </a:xfrm>
          <a:prstGeom prst="rect">
            <a:avLst/>
          </a:prstGeom>
          <a:solidFill>
            <a:srgbClr val="0065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feld 252">
            <a:extLst>
              <a:ext uri="{FF2B5EF4-FFF2-40B4-BE49-F238E27FC236}">
                <a16:creationId xmlns:a16="http://schemas.microsoft.com/office/drawing/2014/main" id="{87403273-2CE1-BE71-91B7-EE095B18E297}"/>
              </a:ext>
            </a:extLst>
          </p:cNvPr>
          <p:cNvSpPr txBox="1"/>
          <p:nvPr/>
        </p:nvSpPr>
        <p:spPr>
          <a:xfrm>
            <a:off x="484188" y="863222"/>
            <a:ext cx="52895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uropean air cargo data</a:t>
            </a:r>
          </a:p>
        </p:txBody>
      </p:sp>
      <p:sp>
        <p:nvSpPr>
          <p:cNvPr id="33" name="Textfeld 253">
            <a:extLst>
              <a:ext uri="{FF2B5EF4-FFF2-40B4-BE49-F238E27FC236}">
                <a16:creationId xmlns:a16="http://schemas.microsoft.com/office/drawing/2014/main" id="{1B452FD8-7307-8F4C-24A0-6BDBB323389F}"/>
              </a:ext>
            </a:extLst>
          </p:cNvPr>
          <p:cNvSpPr txBox="1"/>
          <p:nvPr/>
        </p:nvSpPr>
        <p:spPr>
          <a:xfrm>
            <a:off x="6454436" y="856882"/>
            <a:ext cx="52895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US air cargo data</a:t>
            </a:r>
          </a:p>
        </p:txBody>
      </p:sp>
      <p:sp>
        <p:nvSpPr>
          <p:cNvPr id="34" name="Rechteck 256">
            <a:extLst>
              <a:ext uri="{FF2B5EF4-FFF2-40B4-BE49-F238E27FC236}">
                <a16:creationId xmlns:a16="http://schemas.microsoft.com/office/drawing/2014/main" id="{F425D12A-6A36-99E1-CF72-EE7670F2480F}"/>
              </a:ext>
            </a:extLst>
          </p:cNvPr>
          <p:cNvSpPr/>
          <p:nvPr/>
        </p:nvSpPr>
        <p:spPr>
          <a:xfrm>
            <a:off x="646612" y="4901556"/>
            <a:ext cx="2642381" cy="667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Textfeld 257">
            <a:extLst>
              <a:ext uri="{FF2B5EF4-FFF2-40B4-BE49-F238E27FC236}">
                <a16:creationId xmlns:a16="http://schemas.microsoft.com/office/drawing/2014/main" id="{E0CFF821-9B0E-1D38-AE83-A91AD77D25C5}"/>
              </a:ext>
            </a:extLst>
          </p:cNvPr>
          <p:cNvSpPr txBox="1"/>
          <p:nvPr/>
        </p:nvSpPr>
        <p:spPr>
          <a:xfrm>
            <a:off x="689784" y="4923166"/>
            <a:ext cx="27035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tential to becom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UAS operations for domestic European flight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across all distances</a:t>
            </a:r>
          </a:p>
        </p:txBody>
      </p:sp>
      <p:grpSp>
        <p:nvGrpSpPr>
          <p:cNvPr id="36" name="Gruppieren 258">
            <a:extLst>
              <a:ext uri="{FF2B5EF4-FFF2-40B4-BE49-F238E27FC236}">
                <a16:creationId xmlns:a16="http://schemas.microsoft.com/office/drawing/2014/main" id="{07CCE9DD-A0DB-E14B-B258-B92243BB70FA}"/>
              </a:ext>
            </a:extLst>
          </p:cNvPr>
          <p:cNvGrpSpPr>
            <a:grpSpLocks noChangeAspect="1"/>
          </p:cNvGrpSpPr>
          <p:nvPr/>
        </p:nvGrpSpPr>
        <p:grpSpPr>
          <a:xfrm>
            <a:off x="414060" y="4761886"/>
            <a:ext cx="360363" cy="360363"/>
            <a:chOff x="8192950" y="3801857"/>
            <a:chExt cx="720000" cy="720000"/>
          </a:xfrm>
        </p:grpSpPr>
        <p:sp>
          <p:nvSpPr>
            <p:cNvPr id="37" name="Ellipse 186">
              <a:extLst>
                <a:ext uri="{FF2B5EF4-FFF2-40B4-BE49-F238E27FC236}">
                  <a16:creationId xmlns:a16="http://schemas.microsoft.com/office/drawing/2014/main" id="{F8EF8AB7-0829-A008-A168-0F005B0AA43B}"/>
                </a:ext>
              </a:extLst>
            </p:cNvPr>
            <p:cNvSpPr/>
            <p:nvPr/>
          </p:nvSpPr>
          <p:spPr>
            <a:xfrm>
              <a:off x="8192950" y="3801857"/>
              <a:ext cx="720000" cy="72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38" name="Group 9">
              <a:extLst>
                <a:ext uri="{FF2B5EF4-FFF2-40B4-BE49-F238E27FC236}">
                  <a16:creationId xmlns:a16="http://schemas.microsoft.com/office/drawing/2014/main" id="{6E959368-E7FC-731E-A2D4-9933F3F2034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05302" y="3914209"/>
              <a:ext cx="495297" cy="495297"/>
              <a:chOff x="2864" y="1901"/>
              <a:chExt cx="515" cy="515"/>
            </a:xfrm>
            <a:solidFill>
              <a:schemeClr val="bg1"/>
            </a:solidFill>
          </p:grpSpPr>
          <p:sp>
            <p:nvSpPr>
              <p:cNvPr id="39" name="Freeform 10">
                <a:extLst>
                  <a:ext uri="{FF2B5EF4-FFF2-40B4-BE49-F238E27FC236}">
                    <a16:creationId xmlns:a16="http://schemas.microsoft.com/office/drawing/2014/main" id="{BA84BC0A-2A1B-136B-BC9E-8931D2F95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" y="2077"/>
                <a:ext cx="168" cy="279"/>
              </a:xfrm>
              <a:custGeom>
                <a:avLst/>
                <a:gdLst>
                  <a:gd name="T0" fmla="*/ 62 w 62"/>
                  <a:gd name="T1" fmla="*/ 70 h 103"/>
                  <a:gd name="T2" fmla="*/ 59 w 62"/>
                  <a:gd name="T3" fmla="*/ 73 h 103"/>
                  <a:gd name="T4" fmla="*/ 57 w 62"/>
                  <a:gd name="T5" fmla="*/ 76 h 103"/>
                  <a:gd name="T6" fmla="*/ 45 w 62"/>
                  <a:gd name="T7" fmla="*/ 87 h 103"/>
                  <a:gd name="T8" fmla="*/ 31 w 62"/>
                  <a:gd name="T9" fmla="*/ 96 h 103"/>
                  <a:gd name="T10" fmla="*/ 3 w 62"/>
                  <a:gd name="T11" fmla="*/ 81 h 103"/>
                  <a:gd name="T12" fmla="*/ 20 w 62"/>
                  <a:gd name="T13" fmla="*/ 24 h 103"/>
                  <a:gd name="T14" fmla="*/ 14 w 62"/>
                  <a:gd name="T15" fmla="*/ 19 h 103"/>
                  <a:gd name="T16" fmla="*/ 8 w 62"/>
                  <a:gd name="T17" fmla="*/ 23 h 103"/>
                  <a:gd name="T18" fmla="*/ 2 w 62"/>
                  <a:gd name="T19" fmla="*/ 27 h 103"/>
                  <a:gd name="T20" fmla="*/ 0 w 62"/>
                  <a:gd name="T21" fmla="*/ 23 h 103"/>
                  <a:gd name="T22" fmla="*/ 3 w 62"/>
                  <a:gd name="T23" fmla="*/ 18 h 103"/>
                  <a:gd name="T24" fmla="*/ 25 w 62"/>
                  <a:gd name="T25" fmla="*/ 4 h 103"/>
                  <a:gd name="T26" fmla="*/ 52 w 62"/>
                  <a:gd name="T27" fmla="*/ 29 h 103"/>
                  <a:gd name="T28" fmla="*/ 40 w 62"/>
                  <a:gd name="T29" fmla="*/ 69 h 103"/>
                  <a:gd name="T30" fmla="*/ 46 w 62"/>
                  <a:gd name="T31" fmla="*/ 76 h 103"/>
                  <a:gd name="T32" fmla="*/ 52 w 62"/>
                  <a:gd name="T33" fmla="*/ 71 h 103"/>
                  <a:gd name="T34" fmla="*/ 55 w 62"/>
                  <a:gd name="T35" fmla="*/ 68 h 103"/>
                  <a:gd name="T36" fmla="*/ 57 w 62"/>
                  <a:gd name="T37" fmla="*/ 66 h 103"/>
                  <a:gd name="T38" fmla="*/ 61 w 62"/>
                  <a:gd name="T39" fmla="*/ 67 h 103"/>
                  <a:gd name="T40" fmla="*/ 62 w 62"/>
                  <a:gd name="T41" fmla="*/ 7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2" h="103">
                    <a:moveTo>
                      <a:pt x="62" y="70"/>
                    </a:moveTo>
                    <a:cubicBezTo>
                      <a:pt x="62" y="71"/>
                      <a:pt x="60" y="72"/>
                      <a:pt x="59" y="73"/>
                    </a:cubicBezTo>
                    <a:cubicBezTo>
                      <a:pt x="58" y="74"/>
                      <a:pt x="58" y="75"/>
                      <a:pt x="57" y="76"/>
                    </a:cubicBezTo>
                    <a:cubicBezTo>
                      <a:pt x="53" y="80"/>
                      <a:pt x="49" y="84"/>
                      <a:pt x="45" y="87"/>
                    </a:cubicBezTo>
                    <a:cubicBezTo>
                      <a:pt x="41" y="91"/>
                      <a:pt x="36" y="94"/>
                      <a:pt x="31" y="96"/>
                    </a:cubicBezTo>
                    <a:cubicBezTo>
                      <a:pt x="15" y="103"/>
                      <a:pt x="1" y="97"/>
                      <a:pt x="3" y="81"/>
                    </a:cubicBezTo>
                    <a:cubicBezTo>
                      <a:pt x="5" y="65"/>
                      <a:pt x="19" y="30"/>
                      <a:pt x="20" y="24"/>
                    </a:cubicBezTo>
                    <a:cubicBezTo>
                      <a:pt x="22" y="17"/>
                      <a:pt x="18" y="16"/>
                      <a:pt x="14" y="19"/>
                    </a:cubicBezTo>
                    <a:cubicBezTo>
                      <a:pt x="11" y="20"/>
                      <a:pt x="10" y="22"/>
                      <a:pt x="8" y="23"/>
                    </a:cubicBezTo>
                    <a:cubicBezTo>
                      <a:pt x="6" y="25"/>
                      <a:pt x="5" y="27"/>
                      <a:pt x="2" y="27"/>
                    </a:cubicBezTo>
                    <a:cubicBezTo>
                      <a:pt x="1" y="26"/>
                      <a:pt x="0" y="24"/>
                      <a:pt x="0" y="23"/>
                    </a:cubicBezTo>
                    <a:cubicBezTo>
                      <a:pt x="0" y="21"/>
                      <a:pt x="2" y="20"/>
                      <a:pt x="3" y="18"/>
                    </a:cubicBezTo>
                    <a:cubicBezTo>
                      <a:pt x="9" y="12"/>
                      <a:pt x="16" y="7"/>
                      <a:pt x="25" y="4"/>
                    </a:cubicBezTo>
                    <a:cubicBezTo>
                      <a:pt x="38" y="0"/>
                      <a:pt x="60" y="4"/>
                      <a:pt x="52" y="29"/>
                    </a:cubicBezTo>
                    <a:cubicBezTo>
                      <a:pt x="46" y="47"/>
                      <a:pt x="42" y="60"/>
                      <a:pt x="40" y="69"/>
                    </a:cubicBezTo>
                    <a:cubicBezTo>
                      <a:pt x="37" y="78"/>
                      <a:pt x="41" y="80"/>
                      <a:pt x="46" y="76"/>
                    </a:cubicBezTo>
                    <a:cubicBezTo>
                      <a:pt x="48" y="74"/>
                      <a:pt x="50" y="73"/>
                      <a:pt x="52" y="71"/>
                    </a:cubicBezTo>
                    <a:cubicBezTo>
                      <a:pt x="53" y="70"/>
                      <a:pt x="54" y="69"/>
                      <a:pt x="55" y="68"/>
                    </a:cubicBezTo>
                    <a:cubicBezTo>
                      <a:pt x="55" y="68"/>
                      <a:pt x="56" y="67"/>
                      <a:pt x="57" y="66"/>
                    </a:cubicBezTo>
                    <a:cubicBezTo>
                      <a:pt x="58" y="66"/>
                      <a:pt x="60" y="66"/>
                      <a:pt x="61" y="67"/>
                    </a:cubicBezTo>
                    <a:cubicBezTo>
                      <a:pt x="62" y="68"/>
                      <a:pt x="62" y="69"/>
                      <a:pt x="6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Freeform 11">
                <a:extLst>
                  <a:ext uri="{FF2B5EF4-FFF2-40B4-BE49-F238E27FC236}">
                    <a16:creationId xmlns:a16="http://schemas.microsoft.com/office/drawing/2014/main" id="{5852192B-DEF8-BB47-C66D-D74533FC39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8" y="1972"/>
                <a:ext cx="100" cy="100"/>
              </a:xfrm>
              <a:custGeom>
                <a:avLst/>
                <a:gdLst>
                  <a:gd name="T0" fmla="*/ 20 w 37"/>
                  <a:gd name="T1" fmla="*/ 37 h 37"/>
                  <a:gd name="T2" fmla="*/ 1 w 37"/>
                  <a:gd name="T3" fmla="*/ 20 h 37"/>
                  <a:gd name="T4" fmla="*/ 18 w 37"/>
                  <a:gd name="T5" fmla="*/ 1 h 37"/>
                  <a:gd name="T6" fmla="*/ 37 w 37"/>
                  <a:gd name="T7" fmla="*/ 18 h 37"/>
                  <a:gd name="T8" fmla="*/ 20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0" y="37"/>
                    </a:moveTo>
                    <a:cubicBezTo>
                      <a:pt x="10" y="37"/>
                      <a:pt x="1" y="30"/>
                      <a:pt x="1" y="20"/>
                    </a:cubicBezTo>
                    <a:cubicBezTo>
                      <a:pt x="0" y="10"/>
                      <a:pt x="8" y="1"/>
                      <a:pt x="18" y="1"/>
                    </a:cubicBezTo>
                    <a:cubicBezTo>
                      <a:pt x="28" y="0"/>
                      <a:pt x="36" y="8"/>
                      <a:pt x="37" y="18"/>
                    </a:cubicBezTo>
                    <a:cubicBezTo>
                      <a:pt x="37" y="28"/>
                      <a:pt x="30" y="36"/>
                      <a:pt x="20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Freeform 12">
                <a:extLst>
                  <a:ext uri="{FF2B5EF4-FFF2-40B4-BE49-F238E27FC236}">
                    <a16:creationId xmlns:a16="http://schemas.microsoft.com/office/drawing/2014/main" id="{52893D77-39D7-6B62-56F5-A62A93621D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4" y="1901"/>
                <a:ext cx="515" cy="515"/>
              </a:xfrm>
              <a:custGeom>
                <a:avLst/>
                <a:gdLst>
                  <a:gd name="T0" fmla="*/ 95 w 190"/>
                  <a:gd name="T1" fmla="*/ 0 h 190"/>
                  <a:gd name="T2" fmla="*/ 0 w 190"/>
                  <a:gd name="T3" fmla="*/ 95 h 190"/>
                  <a:gd name="T4" fmla="*/ 95 w 190"/>
                  <a:gd name="T5" fmla="*/ 190 h 190"/>
                  <a:gd name="T6" fmla="*/ 190 w 190"/>
                  <a:gd name="T7" fmla="*/ 95 h 190"/>
                  <a:gd name="T8" fmla="*/ 95 w 190"/>
                  <a:gd name="T9" fmla="*/ 0 h 190"/>
                  <a:gd name="T10" fmla="*/ 95 w 190"/>
                  <a:gd name="T11" fmla="*/ 178 h 190"/>
                  <a:gd name="T12" fmla="*/ 12 w 190"/>
                  <a:gd name="T13" fmla="*/ 95 h 190"/>
                  <a:gd name="T14" fmla="*/ 95 w 190"/>
                  <a:gd name="T15" fmla="*/ 12 h 190"/>
                  <a:gd name="T16" fmla="*/ 178 w 190"/>
                  <a:gd name="T17" fmla="*/ 95 h 190"/>
                  <a:gd name="T18" fmla="*/ 95 w 190"/>
                  <a:gd name="T19" fmla="*/ 178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0" h="190">
                    <a:moveTo>
                      <a:pt x="95" y="0"/>
                    </a:moveTo>
                    <a:cubicBezTo>
                      <a:pt x="42" y="0"/>
                      <a:pt x="0" y="43"/>
                      <a:pt x="0" y="95"/>
                    </a:cubicBezTo>
                    <a:cubicBezTo>
                      <a:pt x="0" y="148"/>
                      <a:pt x="42" y="190"/>
                      <a:pt x="95" y="190"/>
                    </a:cubicBezTo>
                    <a:cubicBezTo>
                      <a:pt x="147" y="190"/>
                      <a:pt x="190" y="148"/>
                      <a:pt x="190" y="95"/>
                    </a:cubicBezTo>
                    <a:cubicBezTo>
                      <a:pt x="190" y="43"/>
                      <a:pt x="147" y="0"/>
                      <a:pt x="95" y="0"/>
                    </a:cubicBezTo>
                    <a:close/>
                    <a:moveTo>
                      <a:pt x="95" y="178"/>
                    </a:moveTo>
                    <a:cubicBezTo>
                      <a:pt x="49" y="178"/>
                      <a:pt x="12" y="141"/>
                      <a:pt x="12" y="95"/>
                    </a:cubicBezTo>
                    <a:cubicBezTo>
                      <a:pt x="12" y="49"/>
                      <a:pt x="49" y="12"/>
                      <a:pt x="95" y="12"/>
                    </a:cubicBezTo>
                    <a:cubicBezTo>
                      <a:pt x="141" y="12"/>
                      <a:pt x="178" y="49"/>
                      <a:pt x="178" y="95"/>
                    </a:cubicBezTo>
                    <a:cubicBezTo>
                      <a:pt x="178" y="141"/>
                      <a:pt x="141" y="178"/>
                      <a:pt x="95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6" name="Textfeld 160">
            <a:extLst>
              <a:ext uri="{FF2B5EF4-FFF2-40B4-BE49-F238E27FC236}">
                <a16:creationId xmlns:a16="http://schemas.microsoft.com/office/drawing/2014/main" id="{65558628-8512-E9F2-185B-2891E9C31DE7}"/>
              </a:ext>
            </a:extLst>
          </p:cNvPr>
          <p:cNvSpPr txBox="1"/>
          <p:nvPr/>
        </p:nvSpPr>
        <p:spPr>
          <a:xfrm>
            <a:off x="6562268" y="1250020"/>
            <a:ext cx="25879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tal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S cargo flight movements (intra- and extra-US)</a:t>
            </a:r>
          </a:p>
        </p:txBody>
      </p:sp>
      <p:pic>
        <p:nvPicPr>
          <p:cNvPr id="47" name="Picture 37">
            <a:extLst>
              <a:ext uri="{FF2B5EF4-FFF2-40B4-BE49-F238E27FC236}">
                <a16:creationId xmlns:a16="http://schemas.microsoft.com/office/drawing/2014/main" id="{DB258F66-DA8F-0D8B-D6EB-3E0CCEEA086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222831" y="2963917"/>
            <a:ext cx="2811991" cy="2816654"/>
          </a:xfrm>
          <a:prstGeom prst="rect">
            <a:avLst/>
          </a:prstGeom>
        </p:spPr>
      </p:pic>
      <p:sp>
        <p:nvSpPr>
          <p:cNvPr id="48" name="Rectangle 3">
            <a:extLst>
              <a:ext uri="{FF2B5EF4-FFF2-40B4-BE49-F238E27FC236}">
                <a16:creationId xmlns:a16="http://schemas.microsoft.com/office/drawing/2014/main" id="{87D6FA11-38FA-DDE2-5212-52ED035D99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21460" y="4321587"/>
            <a:ext cx="414732" cy="9957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887,898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49" name="Rectangle 3">
            <a:extLst>
              <a:ext uri="{FF2B5EF4-FFF2-40B4-BE49-F238E27FC236}">
                <a16:creationId xmlns:a16="http://schemas.microsoft.com/office/drawing/2014/main" id="{B8C271DC-AFE4-0ABE-7A8B-648B51F08A0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797488" y="5019754"/>
            <a:ext cx="545233" cy="252914"/>
          </a:xfrm>
          <a:prstGeom prst="rect">
            <a:avLst/>
          </a:prstGeom>
          <a:solidFill>
            <a:srgbClr val="636EFA"/>
          </a:solidFill>
          <a:ln>
            <a:noFill/>
          </a:ln>
          <a:effectLst/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16,704</a:t>
            </a:r>
            <a:b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80.7%</a:t>
            </a: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0" name="Rectangle 3">
            <a:extLst>
              <a:ext uri="{FF2B5EF4-FFF2-40B4-BE49-F238E27FC236}">
                <a16:creationId xmlns:a16="http://schemas.microsoft.com/office/drawing/2014/main" id="{F077989F-92EE-D11A-CA8A-CC7472B7216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950735" y="3494044"/>
            <a:ext cx="442913" cy="244475"/>
          </a:xfrm>
          <a:prstGeom prst="rect">
            <a:avLst/>
          </a:prstGeom>
          <a:solidFill>
            <a:srgbClr val="EF553B"/>
          </a:solidFill>
          <a:ln>
            <a:noFill/>
          </a:ln>
          <a:effectLst/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71,194</a:t>
            </a:r>
            <a:b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19.3%)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1" name="Textfeld 159">
            <a:extLst>
              <a:ext uri="{FF2B5EF4-FFF2-40B4-BE49-F238E27FC236}">
                <a16:creationId xmlns:a16="http://schemas.microsoft.com/office/drawing/2014/main" id="{A7D4DBA7-A643-D2F2-D4C8-5F674D09CA7A}"/>
              </a:ext>
            </a:extLst>
          </p:cNvPr>
          <p:cNvSpPr txBox="1"/>
          <p:nvPr/>
        </p:nvSpPr>
        <p:spPr>
          <a:xfrm>
            <a:off x="9684130" y="2504218"/>
            <a:ext cx="197096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mestic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S cargo flight movements</a:t>
            </a:r>
          </a:p>
        </p:txBody>
      </p:sp>
      <p:sp>
        <p:nvSpPr>
          <p:cNvPr id="53" name="Textfeld 257">
            <a:extLst>
              <a:ext uri="{FF2B5EF4-FFF2-40B4-BE49-F238E27FC236}">
                <a16:creationId xmlns:a16="http://schemas.microsoft.com/office/drawing/2014/main" id="{60B862C4-F822-CDF8-6849-3D9F17FADE5E}"/>
              </a:ext>
            </a:extLst>
          </p:cNvPr>
          <p:cNvSpPr txBox="1"/>
          <p:nvPr/>
        </p:nvSpPr>
        <p:spPr>
          <a:xfrm>
            <a:off x="6720335" y="4927677"/>
            <a:ext cx="23154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tential to becom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UAS operations for domestic US flight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cross all distances</a:t>
            </a:r>
          </a:p>
        </p:txBody>
      </p:sp>
      <p:grpSp>
        <p:nvGrpSpPr>
          <p:cNvPr id="54" name="Gruppieren 258">
            <a:extLst>
              <a:ext uri="{FF2B5EF4-FFF2-40B4-BE49-F238E27FC236}">
                <a16:creationId xmlns:a16="http://schemas.microsoft.com/office/drawing/2014/main" id="{EF472D91-CB16-6E01-9F9B-65D07CA0DD94}"/>
              </a:ext>
            </a:extLst>
          </p:cNvPr>
          <p:cNvGrpSpPr>
            <a:grpSpLocks noChangeAspect="1"/>
          </p:cNvGrpSpPr>
          <p:nvPr/>
        </p:nvGrpSpPr>
        <p:grpSpPr>
          <a:xfrm>
            <a:off x="6444611" y="4766397"/>
            <a:ext cx="360363" cy="360363"/>
            <a:chOff x="8192950" y="3801857"/>
            <a:chExt cx="720000" cy="720000"/>
          </a:xfrm>
        </p:grpSpPr>
        <p:sp>
          <p:nvSpPr>
            <p:cNvPr id="55" name="Ellipse 186">
              <a:extLst>
                <a:ext uri="{FF2B5EF4-FFF2-40B4-BE49-F238E27FC236}">
                  <a16:creationId xmlns:a16="http://schemas.microsoft.com/office/drawing/2014/main" id="{FF25DA1A-E90C-CE77-6AD5-3589EE302513}"/>
                </a:ext>
              </a:extLst>
            </p:cNvPr>
            <p:cNvSpPr/>
            <p:nvPr/>
          </p:nvSpPr>
          <p:spPr>
            <a:xfrm>
              <a:off x="8192950" y="3801857"/>
              <a:ext cx="720000" cy="72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56" name="Group 9">
              <a:extLst>
                <a:ext uri="{FF2B5EF4-FFF2-40B4-BE49-F238E27FC236}">
                  <a16:creationId xmlns:a16="http://schemas.microsoft.com/office/drawing/2014/main" id="{D6D4525D-0289-C2B7-33D3-2894A18804F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05302" y="3914209"/>
              <a:ext cx="495297" cy="495297"/>
              <a:chOff x="2864" y="1901"/>
              <a:chExt cx="515" cy="515"/>
            </a:xfrm>
            <a:solidFill>
              <a:schemeClr val="bg1"/>
            </a:solidFill>
          </p:grpSpPr>
          <p:sp>
            <p:nvSpPr>
              <p:cNvPr id="57" name="Freeform 10">
                <a:extLst>
                  <a:ext uri="{FF2B5EF4-FFF2-40B4-BE49-F238E27FC236}">
                    <a16:creationId xmlns:a16="http://schemas.microsoft.com/office/drawing/2014/main" id="{BC112AD0-6FCE-289F-1BAE-AA7D149B5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" y="2077"/>
                <a:ext cx="168" cy="279"/>
              </a:xfrm>
              <a:custGeom>
                <a:avLst/>
                <a:gdLst>
                  <a:gd name="T0" fmla="*/ 62 w 62"/>
                  <a:gd name="T1" fmla="*/ 70 h 103"/>
                  <a:gd name="T2" fmla="*/ 59 w 62"/>
                  <a:gd name="T3" fmla="*/ 73 h 103"/>
                  <a:gd name="T4" fmla="*/ 57 w 62"/>
                  <a:gd name="T5" fmla="*/ 76 h 103"/>
                  <a:gd name="T6" fmla="*/ 45 w 62"/>
                  <a:gd name="T7" fmla="*/ 87 h 103"/>
                  <a:gd name="T8" fmla="*/ 31 w 62"/>
                  <a:gd name="T9" fmla="*/ 96 h 103"/>
                  <a:gd name="T10" fmla="*/ 3 w 62"/>
                  <a:gd name="T11" fmla="*/ 81 h 103"/>
                  <a:gd name="T12" fmla="*/ 20 w 62"/>
                  <a:gd name="T13" fmla="*/ 24 h 103"/>
                  <a:gd name="T14" fmla="*/ 14 w 62"/>
                  <a:gd name="T15" fmla="*/ 19 h 103"/>
                  <a:gd name="T16" fmla="*/ 8 w 62"/>
                  <a:gd name="T17" fmla="*/ 23 h 103"/>
                  <a:gd name="T18" fmla="*/ 2 w 62"/>
                  <a:gd name="T19" fmla="*/ 27 h 103"/>
                  <a:gd name="T20" fmla="*/ 0 w 62"/>
                  <a:gd name="T21" fmla="*/ 23 h 103"/>
                  <a:gd name="T22" fmla="*/ 3 w 62"/>
                  <a:gd name="T23" fmla="*/ 18 h 103"/>
                  <a:gd name="T24" fmla="*/ 25 w 62"/>
                  <a:gd name="T25" fmla="*/ 4 h 103"/>
                  <a:gd name="T26" fmla="*/ 52 w 62"/>
                  <a:gd name="T27" fmla="*/ 29 h 103"/>
                  <a:gd name="T28" fmla="*/ 40 w 62"/>
                  <a:gd name="T29" fmla="*/ 69 h 103"/>
                  <a:gd name="T30" fmla="*/ 46 w 62"/>
                  <a:gd name="T31" fmla="*/ 76 h 103"/>
                  <a:gd name="T32" fmla="*/ 52 w 62"/>
                  <a:gd name="T33" fmla="*/ 71 h 103"/>
                  <a:gd name="T34" fmla="*/ 55 w 62"/>
                  <a:gd name="T35" fmla="*/ 68 h 103"/>
                  <a:gd name="T36" fmla="*/ 57 w 62"/>
                  <a:gd name="T37" fmla="*/ 66 h 103"/>
                  <a:gd name="T38" fmla="*/ 61 w 62"/>
                  <a:gd name="T39" fmla="*/ 67 h 103"/>
                  <a:gd name="T40" fmla="*/ 62 w 62"/>
                  <a:gd name="T41" fmla="*/ 7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2" h="103">
                    <a:moveTo>
                      <a:pt x="62" y="70"/>
                    </a:moveTo>
                    <a:cubicBezTo>
                      <a:pt x="62" y="71"/>
                      <a:pt x="60" y="72"/>
                      <a:pt x="59" y="73"/>
                    </a:cubicBezTo>
                    <a:cubicBezTo>
                      <a:pt x="58" y="74"/>
                      <a:pt x="58" y="75"/>
                      <a:pt x="57" y="76"/>
                    </a:cubicBezTo>
                    <a:cubicBezTo>
                      <a:pt x="53" y="80"/>
                      <a:pt x="49" y="84"/>
                      <a:pt x="45" y="87"/>
                    </a:cubicBezTo>
                    <a:cubicBezTo>
                      <a:pt x="41" y="91"/>
                      <a:pt x="36" y="94"/>
                      <a:pt x="31" y="96"/>
                    </a:cubicBezTo>
                    <a:cubicBezTo>
                      <a:pt x="15" y="103"/>
                      <a:pt x="1" y="97"/>
                      <a:pt x="3" y="81"/>
                    </a:cubicBezTo>
                    <a:cubicBezTo>
                      <a:pt x="5" y="65"/>
                      <a:pt x="19" y="30"/>
                      <a:pt x="20" y="24"/>
                    </a:cubicBezTo>
                    <a:cubicBezTo>
                      <a:pt x="22" y="17"/>
                      <a:pt x="18" y="16"/>
                      <a:pt x="14" y="19"/>
                    </a:cubicBezTo>
                    <a:cubicBezTo>
                      <a:pt x="11" y="20"/>
                      <a:pt x="10" y="22"/>
                      <a:pt x="8" y="23"/>
                    </a:cubicBezTo>
                    <a:cubicBezTo>
                      <a:pt x="6" y="25"/>
                      <a:pt x="5" y="27"/>
                      <a:pt x="2" y="27"/>
                    </a:cubicBezTo>
                    <a:cubicBezTo>
                      <a:pt x="1" y="26"/>
                      <a:pt x="0" y="24"/>
                      <a:pt x="0" y="23"/>
                    </a:cubicBezTo>
                    <a:cubicBezTo>
                      <a:pt x="0" y="21"/>
                      <a:pt x="2" y="20"/>
                      <a:pt x="3" y="18"/>
                    </a:cubicBezTo>
                    <a:cubicBezTo>
                      <a:pt x="9" y="12"/>
                      <a:pt x="16" y="7"/>
                      <a:pt x="25" y="4"/>
                    </a:cubicBezTo>
                    <a:cubicBezTo>
                      <a:pt x="38" y="0"/>
                      <a:pt x="60" y="4"/>
                      <a:pt x="52" y="29"/>
                    </a:cubicBezTo>
                    <a:cubicBezTo>
                      <a:pt x="46" y="47"/>
                      <a:pt x="42" y="60"/>
                      <a:pt x="40" y="69"/>
                    </a:cubicBezTo>
                    <a:cubicBezTo>
                      <a:pt x="37" y="78"/>
                      <a:pt x="41" y="80"/>
                      <a:pt x="46" y="76"/>
                    </a:cubicBezTo>
                    <a:cubicBezTo>
                      <a:pt x="48" y="74"/>
                      <a:pt x="50" y="73"/>
                      <a:pt x="52" y="71"/>
                    </a:cubicBezTo>
                    <a:cubicBezTo>
                      <a:pt x="53" y="70"/>
                      <a:pt x="54" y="69"/>
                      <a:pt x="55" y="68"/>
                    </a:cubicBezTo>
                    <a:cubicBezTo>
                      <a:pt x="55" y="68"/>
                      <a:pt x="56" y="67"/>
                      <a:pt x="57" y="66"/>
                    </a:cubicBezTo>
                    <a:cubicBezTo>
                      <a:pt x="58" y="66"/>
                      <a:pt x="60" y="66"/>
                      <a:pt x="61" y="67"/>
                    </a:cubicBezTo>
                    <a:cubicBezTo>
                      <a:pt x="62" y="68"/>
                      <a:pt x="62" y="69"/>
                      <a:pt x="6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8" name="Freeform 11">
                <a:extLst>
                  <a:ext uri="{FF2B5EF4-FFF2-40B4-BE49-F238E27FC236}">
                    <a16:creationId xmlns:a16="http://schemas.microsoft.com/office/drawing/2014/main" id="{24F134BD-2C5F-B891-D060-DC422EC538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8" y="1972"/>
                <a:ext cx="100" cy="100"/>
              </a:xfrm>
              <a:custGeom>
                <a:avLst/>
                <a:gdLst>
                  <a:gd name="T0" fmla="*/ 20 w 37"/>
                  <a:gd name="T1" fmla="*/ 37 h 37"/>
                  <a:gd name="T2" fmla="*/ 1 w 37"/>
                  <a:gd name="T3" fmla="*/ 20 h 37"/>
                  <a:gd name="T4" fmla="*/ 18 w 37"/>
                  <a:gd name="T5" fmla="*/ 1 h 37"/>
                  <a:gd name="T6" fmla="*/ 37 w 37"/>
                  <a:gd name="T7" fmla="*/ 18 h 37"/>
                  <a:gd name="T8" fmla="*/ 20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0" y="37"/>
                    </a:moveTo>
                    <a:cubicBezTo>
                      <a:pt x="10" y="37"/>
                      <a:pt x="1" y="30"/>
                      <a:pt x="1" y="20"/>
                    </a:cubicBezTo>
                    <a:cubicBezTo>
                      <a:pt x="0" y="10"/>
                      <a:pt x="8" y="1"/>
                      <a:pt x="18" y="1"/>
                    </a:cubicBezTo>
                    <a:cubicBezTo>
                      <a:pt x="28" y="0"/>
                      <a:pt x="36" y="8"/>
                      <a:pt x="37" y="18"/>
                    </a:cubicBezTo>
                    <a:cubicBezTo>
                      <a:pt x="37" y="28"/>
                      <a:pt x="30" y="36"/>
                      <a:pt x="20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9" name="Freeform 12">
                <a:extLst>
                  <a:ext uri="{FF2B5EF4-FFF2-40B4-BE49-F238E27FC236}">
                    <a16:creationId xmlns:a16="http://schemas.microsoft.com/office/drawing/2014/main" id="{7C187E27-BBCA-37B5-C5BD-763EF508D0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4" y="1901"/>
                <a:ext cx="515" cy="515"/>
              </a:xfrm>
              <a:custGeom>
                <a:avLst/>
                <a:gdLst>
                  <a:gd name="T0" fmla="*/ 95 w 190"/>
                  <a:gd name="T1" fmla="*/ 0 h 190"/>
                  <a:gd name="T2" fmla="*/ 0 w 190"/>
                  <a:gd name="T3" fmla="*/ 95 h 190"/>
                  <a:gd name="T4" fmla="*/ 95 w 190"/>
                  <a:gd name="T5" fmla="*/ 190 h 190"/>
                  <a:gd name="T6" fmla="*/ 190 w 190"/>
                  <a:gd name="T7" fmla="*/ 95 h 190"/>
                  <a:gd name="T8" fmla="*/ 95 w 190"/>
                  <a:gd name="T9" fmla="*/ 0 h 190"/>
                  <a:gd name="T10" fmla="*/ 95 w 190"/>
                  <a:gd name="T11" fmla="*/ 178 h 190"/>
                  <a:gd name="T12" fmla="*/ 12 w 190"/>
                  <a:gd name="T13" fmla="*/ 95 h 190"/>
                  <a:gd name="T14" fmla="*/ 95 w 190"/>
                  <a:gd name="T15" fmla="*/ 12 h 190"/>
                  <a:gd name="T16" fmla="*/ 178 w 190"/>
                  <a:gd name="T17" fmla="*/ 95 h 190"/>
                  <a:gd name="T18" fmla="*/ 95 w 190"/>
                  <a:gd name="T19" fmla="*/ 178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0" h="190">
                    <a:moveTo>
                      <a:pt x="95" y="0"/>
                    </a:moveTo>
                    <a:cubicBezTo>
                      <a:pt x="42" y="0"/>
                      <a:pt x="0" y="43"/>
                      <a:pt x="0" y="95"/>
                    </a:cubicBezTo>
                    <a:cubicBezTo>
                      <a:pt x="0" y="148"/>
                      <a:pt x="42" y="190"/>
                      <a:pt x="95" y="190"/>
                    </a:cubicBezTo>
                    <a:cubicBezTo>
                      <a:pt x="147" y="190"/>
                      <a:pt x="190" y="148"/>
                      <a:pt x="190" y="95"/>
                    </a:cubicBezTo>
                    <a:cubicBezTo>
                      <a:pt x="190" y="43"/>
                      <a:pt x="147" y="0"/>
                      <a:pt x="95" y="0"/>
                    </a:cubicBezTo>
                    <a:close/>
                    <a:moveTo>
                      <a:pt x="95" y="178"/>
                    </a:moveTo>
                    <a:cubicBezTo>
                      <a:pt x="49" y="178"/>
                      <a:pt x="12" y="141"/>
                      <a:pt x="12" y="95"/>
                    </a:cubicBezTo>
                    <a:cubicBezTo>
                      <a:pt x="12" y="49"/>
                      <a:pt x="49" y="12"/>
                      <a:pt x="95" y="12"/>
                    </a:cubicBezTo>
                    <a:cubicBezTo>
                      <a:pt x="141" y="12"/>
                      <a:pt x="178" y="49"/>
                      <a:pt x="178" y="95"/>
                    </a:cubicBezTo>
                    <a:cubicBezTo>
                      <a:pt x="178" y="141"/>
                      <a:pt x="141" y="178"/>
                      <a:pt x="95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2" name="Picture 23">
            <a:extLst>
              <a:ext uri="{FF2B5EF4-FFF2-40B4-BE49-F238E27FC236}">
                <a16:creationId xmlns:a16="http://schemas.microsoft.com/office/drawing/2014/main" id="{9C65EF6F-A3BC-ECD9-B1FE-DCC1E663155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519175" y="1720628"/>
            <a:ext cx="2714194" cy="2718696"/>
          </a:xfrm>
          <a:prstGeom prst="rect">
            <a:avLst/>
          </a:prstGeom>
        </p:spPr>
      </p:pic>
      <p:sp>
        <p:nvSpPr>
          <p:cNvPr id="43" name="Rectangle 3">
            <a:extLst>
              <a:ext uri="{FF2B5EF4-FFF2-40B4-BE49-F238E27FC236}">
                <a16:creationId xmlns:a16="http://schemas.microsoft.com/office/drawing/2014/main" id="{80C574B3-033D-5AE7-4522-5BA03EAAA7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69431" y="3038171"/>
            <a:ext cx="414732" cy="9957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917,465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id="{7C29DEEA-C473-A0CA-A5C8-6FAC1AF2CE3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992014" y="3639783"/>
            <a:ext cx="545233" cy="252914"/>
          </a:xfrm>
          <a:prstGeom prst="rect">
            <a:avLst/>
          </a:prstGeom>
          <a:solidFill>
            <a:srgbClr val="636EFA"/>
          </a:solidFill>
          <a:ln>
            <a:noFill/>
          </a:ln>
          <a:effectLst/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31,389</a:t>
            </a:r>
            <a:b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79.7%</a:t>
            </a: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Rectangle 3">
            <a:extLst>
              <a:ext uri="{FF2B5EF4-FFF2-40B4-BE49-F238E27FC236}">
                <a16:creationId xmlns:a16="http://schemas.microsoft.com/office/drawing/2014/main" id="{D72D901B-69DA-A917-076E-FC494F36752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172566" y="2251988"/>
            <a:ext cx="442913" cy="244475"/>
          </a:xfrm>
          <a:prstGeom prst="rect">
            <a:avLst/>
          </a:prstGeom>
          <a:solidFill>
            <a:srgbClr val="EF553B"/>
          </a:solidFill>
          <a:ln>
            <a:noFill/>
          </a:ln>
          <a:effectLst/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86,07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20.3%)</a:t>
            </a:r>
          </a:p>
        </p:txBody>
      </p:sp>
      <p:cxnSp>
        <p:nvCxnSpPr>
          <p:cNvPr id="52" name="Gerade Verbindung 299">
            <a:extLst>
              <a:ext uri="{FF2B5EF4-FFF2-40B4-BE49-F238E27FC236}">
                <a16:creationId xmlns:a16="http://schemas.microsoft.com/office/drawing/2014/main" id="{B75847E1-E7D6-CAC7-4978-BF1E5A5B380A}"/>
              </a:ext>
            </a:extLst>
          </p:cNvPr>
          <p:cNvCxnSpPr>
            <a:cxnSpLocks/>
            <a:stCxn id="53" idx="0"/>
          </p:cNvCxnSpPr>
          <p:nvPr/>
        </p:nvCxnSpPr>
        <p:spPr>
          <a:xfrm flipV="1">
            <a:off x="7878074" y="3599718"/>
            <a:ext cx="1890774" cy="1327959"/>
          </a:xfrm>
          <a:prstGeom prst="line">
            <a:avLst/>
          </a:prstGeom>
          <a:ln w="19050"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425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  <p:bldP spid="34" grpId="0" animBg="1"/>
      <p:bldP spid="35" grpId="0"/>
      <p:bldP spid="46" grpId="0"/>
      <p:bldP spid="48" grpId="0" animBg="1"/>
      <p:bldP spid="49" grpId="0" animBg="1"/>
      <p:bldP spid="50" grpId="0" animBg="1"/>
      <p:bldP spid="51" grpId="0"/>
      <p:bldP spid="53" grpId="0"/>
      <p:bldP spid="43" grpId="0" animBg="1"/>
      <p:bldP spid="44" grpId="0" animBg="1"/>
      <p:bldP spid="4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45">
            <a:extLst>
              <a:ext uri="{FF2B5EF4-FFF2-40B4-BE49-F238E27FC236}">
                <a16:creationId xmlns:a16="http://schemas.microsoft.com/office/drawing/2014/main" id="{D3229555-2843-61C3-379B-B52DDBEE7532}"/>
              </a:ext>
            </a:extLst>
          </p:cNvPr>
          <p:cNvSpPr/>
          <p:nvPr/>
        </p:nvSpPr>
        <p:spPr>
          <a:xfrm>
            <a:off x="8480273" y="4262746"/>
            <a:ext cx="2990358" cy="12479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5" name="Gruppieren 47">
            <a:extLst>
              <a:ext uri="{FF2B5EF4-FFF2-40B4-BE49-F238E27FC236}">
                <a16:creationId xmlns:a16="http://schemas.microsoft.com/office/drawing/2014/main" id="{FEACB1E9-4AE7-9DCF-5D8F-5BE9FF9B45AC}"/>
              </a:ext>
            </a:extLst>
          </p:cNvPr>
          <p:cNvGrpSpPr>
            <a:grpSpLocks noChangeAspect="1"/>
          </p:cNvGrpSpPr>
          <p:nvPr/>
        </p:nvGrpSpPr>
        <p:grpSpPr>
          <a:xfrm>
            <a:off x="8300014" y="4097645"/>
            <a:ext cx="360363" cy="360363"/>
            <a:chOff x="8192950" y="3801857"/>
            <a:chExt cx="720000" cy="720000"/>
          </a:xfrm>
        </p:grpSpPr>
        <p:sp>
          <p:nvSpPr>
            <p:cNvPr id="26" name="Ellipse 186">
              <a:extLst>
                <a:ext uri="{FF2B5EF4-FFF2-40B4-BE49-F238E27FC236}">
                  <a16:creationId xmlns:a16="http://schemas.microsoft.com/office/drawing/2014/main" id="{A38A31D1-FE34-5E59-F04B-ADF428FFB943}"/>
                </a:ext>
              </a:extLst>
            </p:cNvPr>
            <p:cNvSpPr/>
            <p:nvPr/>
          </p:nvSpPr>
          <p:spPr>
            <a:xfrm>
              <a:off x="8192950" y="3801857"/>
              <a:ext cx="720000" cy="72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7" name="Group 9">
              <a:extLst>
                <a:ext uri="{FF2B5EF4-FFF2-40B4-BE49-F238E27FC236}">
                  <a16:creationId xmlns:a16="http://schemas.microsoft.com/office/drawing/2014/main" id="{CE6B54CA-005E-97E0-9817-1A17A699F7D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05302" y="3914209"/>
              <a:ext cx="495297" cy="495297"/>
              <a:chOff x="2864" y="1901"/>
              <a:chExt cx="515" cy="515"/>
            </a:xfrm>
            <a:solidFill>
              <a:schemeClr val="bg1"/>
            </a:solidFill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5667ED20-779D-A453-E51B-55259DD929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" y="2077"/>
                <a:ext cx="168" cy="279"/>
              </a:xfrm>
              <a:custGeom>
                <a:avLst/>
                <a:gdLst>
                  <a:gd name="T0" fmla="*/ 62 w 62"/>
                  <a:gd name="T1" fmla="*/ 70 h 103"/>
                  <a:gd name="T2" fmla="*/ 59 w 62"/>
                  <a:gd name="T3" fmla="*/ 73 h 103"/>
                  <a:gd name="T4" fmla="*/ 57 w 62"/>
                  <a:gd name="T5" fmla="*/ 76 h 103"/>
                  <a:gd name="T6" fmla="*/ 45 w 62"/>
                  <a:gd name="T7" fmla="*/ 87 h 103"/>
                  <a:gd name="T8" fmla="*/ 31 w 62"/>
                  <a:gd name="T9" fmla="*/ 96 h 103"/>
                  <a:gd name="T10" fmla="*/ 3 w 62"/>
                  <a:gd name="T11" fmla="*/ 81 h 103"/>
                  <a:gd name="T12" fmla="*/ 20 w 62"/>
                  <a:gd name="T13" fmla="*/ 24 h 103"/>
                  <a:gd name="T14" fmla="*/ 14 w 62"/>
                  <a:gd name="T15" fmla="*/ 19 h 103"/>
                  <a:gd name="T16" fmla="*/ 8 w 62"/>
                  <a:gd name="T17" fmla="*/ 23 h 103"/>
                  <a:gd name="T18" fmla="*/ 2 w 62"/>
                  <a:gd name="T19" fmla="*/ 27 h 103"/>
                  <a:gd name="T20" fmla="*/ 0 w 62"/>
                  <a:gd name="T21" fmla="*/ 23 h 103"/>
                  <a:gd name="T22" fmla="*/ 3 w 62"/>
                  <a:gd name="T23" fmla="*/ 18 h 103"/>
                  <a:gd name="T24" fmla="*/ 25 w 62"/>
                  <a:gd name="T25" fmla="*/ 4 h 103"/>
                  <a:gd name="T26" fmla="*/ 52 w 62"/>
                  <a:gd name="T27" fmla="*/ 29 h 103"/>
                  <a:gd name="T28" fmla="*/ 40 w 62"/>
                  <a:gd name="T29" fmla="*/ 69 h 103"/>
                  <a:gd name="T30" fmla="*/ 46 w 62"/>
                  <a:gd name="T31" fmla="*/ 76 h 103"/>
                  <a:gd name="T32" fmla="*/ 52 w 62"/>
                  <a:gd name="T33" fmla="*/ 71 h 103"/>
                  <a:gd name="T34" fmla="*/ 55 w 62"/>
                  <a:gd name="T35" fmla="*/ 68 h 103"/>
                  <a:gd name="T36" fmla="*/ 57 w 62"/>
                  <a:gd name="T37" fmla="*/ 66 h 103"/>
                  <a:gd name="T38" fmla="*/ 61 w 62"/>
                  <a:gd name="T39" fmla="*/ 67 h 103"/>
                  <a:gd name="T40" fmla="*/ 62 w 62"/>
                  <a:gd name="T41" fmla="*/ 7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2" h="103">
                    <a:moveTo>
                      <a:pt x="62" y="70"/>
                    </a:moveTo>
                    <a:cubicBezTo>
                      <a:pt x="62" y="71"/>
                      <a:pt x="60" y="72"/>
                      <a:pt x="59" y="73"/>
                    </a:cubicBezTo>
                    <a:cubicBezTo>
                      <a:pt x="58" y="74"/>
                      <a:pt x="58" y="75"/>
                      <a:pt x="57" y="76"/>
                    </a:cubicBezTo>
                    <a:cubicBezTo>
                      <a:pt x="53" y="80"/>
                      <a:pt x="49" y="84"/>
                      <a:pt x="45" y="87"/>
                    </a:cubicBezTo>
                    <a:cubicBezTo>
                      <a:pt x="41" y="91"/>
                      <a:pt x="36" y="94"/>
                      <a:pt x="31" y="96"/>
                    </a:cubicBezTo>
                    <a:cubicBezTo>
                      <a:pt x="15" y="103"/>
                      <a:pt x="1" y="97"/>
                      <a:pt x="3" y="81"/>
                    </a:cubicBezTo>
                    <a:cubicBezTo>
                      <a:pt x="5" y="65"/>
                      <a:pt x="19" y="30"/>
                      <a:pt x="20" y="24"/>
                    </a:cubicBezTo>
                    <a:cubicBezTo>
                      <a:pt x="22" y="17"/>
                      <a:pt x="18" y="16"/>
                      <a:pt x="14" y="19"/>
                    </a:cubicBezTo>
                    <a:cubicBezTo>
                      <a:pt x="11" y="20"/>
                      <a:pt x="10" y="22"/>
                      <a:pt x="8" y="23"/>
                    </a:cubicBezTo>
                    <a:cubicBezTo>
                      <a:pt x="6" y="25"/>
                      <a:pt x="5" y="27"/>
                      <a:pt x="2" y="27"/>
                    </a:cubicBezTo>
                    <a:cubicBezTo>
                      <a:pt x="1" y="26"/>
                      <a:pt x="0" y="24"/>
                      <a:pt x="0" y="23"/>
                    </a:cubicBezTo>
                    <a:cubicBezTo>
                      <a:pt x="0" y="21"/>
                      <a:pt x="2" y="20"/>
                      <a:pt x="3" y="18"/>
                    </a:cubicBezTo>
                    <a:cubicBezTo>
                      <a:pt x="9" y="12"/>
                      <a:pt x="16" y="7"/>
                      <a:pt x="25" y="4"/>
                    </a:cubicBezTo>
                    <a:cubicBezTo>
                      <a:pt x="38" y="0"/>
                      <a:pt x="60" y="4"/>
                      <a:pt x="52" y="29"/>
                    </a:cubicBezTo>
                    <a:cubicBezTo>
                      <a:pt x="46" y="47"/>
                      <a:pt x="42" y="60"/>
                      <a:pt x="40" y="69"/>
                    </a:cubicBezTo>
                    <a:cubicBezTo>
                      <a:pt x="37" y="78"/>
                      <a:pt x="41" y="80"/>
                      <a:pt x="46" y="76"/>
                    </a:cubicBezTo>
                    <a:cubicBezTo>
                      <a:pt x="48" y="74"/>
                      <a:pt x="50" y="73"/>
                      <a:pt x="52" y="71"/>
                    </a:cubicBezTo>
                    <a:cubicBezTo>
                      <a:pt x="53" y="70"/>
                      <a:pt x="54" y="69"/>
                      <a:pt x="55" y="68"/>
                    </a:cubicBezTo>
                    <a:cubicBezTo>
                      <a:pt x="55" y="68"/>
                      <a:pt x="56" y="67"/>
                      <a:pt x="57" y="66"/>
                    </a:cubicBezTo>
                    <a:cubicBezTo>
                      <a:pt x="58" y="66"/>
                      <a:pt x="60" y="66"/>
                      <a:pt x="61" y="67"/>
                    </a:cubicBezTo>
                    <a:cubicBezTo>
                      <a:pt x="62" y="68"/>
                      <a:pt x="62" y="69"/>
                      <a:pt x="6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4CB2DED8-9DAC-B043-E5D9-C4E06AFB9B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8" y="1972"/>
                <a:ext cx="100" cy="100"/>
              </a:xfrm>
              <a:custGeom>
                <a:avLst/>
                <a:gdLst>
                  <a:gd name="T0" fmla="*/ 20 w 37"/>
                  <a:gd name="T1" fmla="*/ 37 h 37"/>
                  <a:gd name="T2" fmla="*/ 1 w 37"/>
                  <a:gd name="T3" fmla="*/ 20 h 37"/>
                  <a:gd name="T4" fmla="*/ 18 w 37"/>
                  <a:gd name="T5" fmla="*/ 1 h 37"/>
                  <a:gd name="T6" fmla="*/ 37 w 37"/>
                  <a:gd name="T7" fmla="*/ 18 h 37"/>
                  <a:gd name="T8" fmla="*/ 20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0" y="37"/>
                    </a:moveTo>
                    <a:cubicBezTo>
                      <a:pt x="10" y="37"/>
                      <a:pt x="1" y="30"/>
                      <a:pt x="1" y="20"/>
                    </a:cubicBezTo>
                    <a:cubicBezTo>
                      <a:pt x="0" y="10"/>
                      <a:pt x="8" y="1"/>
                      <a:pt x="18" y="1"/>
                    </a:cubicBezTo>
                    <a:cubicBezTo>
                      <a:pt x="28" y="0"/>
                      <a:pt x="36" y="8"/>
                      <a:pt x="37" y="18"/>
                    </a:cubicBezTo>
                    <a:cubicBezTo>
                      <a:pt x="37" y="28"/>
                      <a:pt x="30" y="36"/>
                      <a:pt x="20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Freeform 12">
                <a:extLst>
                  <a:ext uri="{FF2B5EF4-FFF2-40B4-BE49-F238E27FC236}">
                    <a16:creationId xmlns:a16="http://schemas.microsoft.com/office/drawing/2014/main" id="{44DCB292-DE11-4AB8-968F-2A4DC03867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4" y="1901"/>
                <a:ext cx="515" cy="515"/>
              </a:xfrm>
              <a:custGeom>
                <a:avLst/>
                <a:gdLst>
                  <a:gd name="T0" fmla="*/ 95 w 190"/>
                  <a:gd name="T1" fmla="*/ 0 h 190"/>
                  <a:gd name="T2" fmla="*/ 0 w 190"/>
                  <a:gd name="T3" fmla="*/ 95 h 190"/>
                  <a:gd name="T4" fmla="*/ 95 w 190"/>
                  <a:gd name="T5" fmla="*/ 190 h 190"/>
                  <a:gd name="T6" fmla="*/ 190 w 190"/>
                  <a:gd name="T7" fmla="*/ 95 h 190"/>
                  <a:gd name="T8" fmla="*/ 95 w 190"/>
                  <a:gd name="T9" fmla="*/ 0 h 190"/>
                  <a:gd name="T10" fmla="*/ 95 w 190"/>
                  <a:gd name="T11" fmla="*/ 178 h 190"/>
                  <a:gd name="T12" fmla="*/ 12 w 190"/>
                  <a:gd name="T13" fmla="*/ 95 h 190"/>
                  <a:gd name="T14" fmla="*/ 95 w 190"/>
                  <a:gd name="T15" fmla="*/ 12 h 190"/>
                  <a:gd name="T16" fmla="*/ 178 w 190"/>
                  <a:gd name="T17" fmla="*/ 95 h 190"/>
                  <a:gd name="T18" fmla="*/ 95 w 190"/>
                  <a:gd name="T19" fmla="*/ 178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0" h="190">
                    <a:moveTo>
                      <a:pt x="95" y="0"/>
                    </a:moveTo>
                    <a:cubicBezTo>
                      <a:pt x="42" y="0"/>
                      <a:pt x="0" y="43"/>
                      <a:pt x="0" y="95"/>
                    </a:cubicBezTo>
                    <a:cubicBezTo>
                      <a:pt x="0" y="148"/>
                      <a:pt x="42" y="190"/>
                      <a:pt x="95" y="190"/>
                    </a:cubicBezTo>
                    <a:cubicBezTo>
                      <a:pt x="147" y="190"/>
                      <a:pt x="190" y="148"/>
                      <a:pt x="190" y="95"/>
                    </a:cubicBezTo>
                    <a:cubicBezTo>
                      <a:pt x="190" y="43"/>
                      <a:pt x="147" y="0"/>
                      <a:pt x="95" y="0"/>
                    </a:cubicBezTo>
                    <a:close/>
                    <a:moveTo>
                      <a:pt x="95" y="178"/>
                    </a:moveTo>
                    <a:cubicBezTo>
                      <a:pt x="49" y="178"/>
                      <a:pt x="12" y="141"/>
                      <a:pt x="12" y="95"/>
                    </a:cubicBezTo>
                    <a:cubicBezTo>
                      <a:pt x="12" y="49"/>
                      <a:pt x="49" y="12"/>
                      <a:pt x="95" y="12"/>
                    </a:cubicBezTo>
                    <a:cubicBezTo>
                      <a:pt x="141" y="12"/>
                      <a:pt x="178" y="49"/>
                      <a:pt x="178" y="95"/>
                    </a:cubicBezTo>
                    <a:cubicBezTo>
                      <a:pt x="178" y="141"/>
                      <a:pt x="141" y="178"/>
                      <a:pt x="95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4" name="Textfeld 46">
            <a:extLst>
              <a:ext uri="{FF2B5EF4-FFF2-40B4-BE49-F238E27FC236}">
                <a16:creationId xmlns:a16="http://schemas.microsoft.com/office/drawing/2014/main" id="{A42B035C-AAF1-10B6-E1A8-40A04A639ACC}"/>
              </a:ext>
            </a:extLst>
          </p:cNvPr>
          <p:cNvSpPr txBox="1"/>
          <p:nvPr/>
        </p:nvSpPr>
        <p:spPr>
          <a:xfrm>
            <a:off x="8614663" y="4272270"/>
            <a:ext cx="285596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essna Caravan accounts for more than 83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f domestic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U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argo flight movements by regional turboprop aircraf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734674" cy="985286"/>
          </a:xfrm>
        </p:spPr>
        <p:txBody>
          <a:bodyPr vert="horz">
            <a:normAutofit fontScale="90000"/>
          </a:bodyPr>
          <a:lstStyle/>
          <a:p>
            <a:r>
              <a:rPr lang="en-US" sz="36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Characteristics of Regional </a:t>
            </a:r>
            <a:r>
              <a:rPr lang="en-US" sz="3600" dirty="0">
                <a:solidFill>
                  <a:srgbClr val="00658B"/>
                </a:solidFill>
              </a:rPr>
              <a:t>A</a:t>
            </a:r>
            <a:r>
              <a:rPr lang="en-US" sz="36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ir </a:t>
            </a:r>
            <a:r>
              <a:rPr lang="en-US" sz="3600" dirty="0">
                <a:solidFill>
                  <a:srgbClr val="00658B"/>
                </a:solidFill>
              </a:rPr>
              <a:t>C</a:t>
            </a:r>
            <a:r>
              <a:rPr lang="en-US" sz="36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rgo </a:t>
            </a:r>
            <a:r>
              <a:rPr lang="en-US" sz="3600" dirty="0">
                <a:solidFill>
                  <a:srgbClr val="00658B"/>
                </a:solidFill>
              </a:rPr>
              <a:t>O</a:t>
            </a:r>
            <a:r>
              <a:rPr lang="en-US" sz="36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perations</a:t>
            </a:r>
            <a:br>
              <a:rPr lang="en-US" sz="3200" dirty="0"/>
            </a:br>
            <a:r>
              <a:rPr lang="en-US" sz="2700" dirty="0"/>
              <a:t>What type of aircraft are flying?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4" descr="Bar chart showing the most common regional cargo aircraft in the United States and Europe. Movements are shown on the y-axis and aircraft types are shown on the x-axis. ">
            <a:extLst>
              <a:ext uri="{FF2B5EF4-FFF2-40B4-BE49-F238E27FC236}">
                <a16:creationId xmlns:a16="http://schemas.microsoft.com/office/drawing/2014/main" id="{1CB0C12A-E2BB-E31A-7754-DCD7D77FBC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5347" y="1487416"/>
            <a:ext cx="7857579" cy="4630359"/>
          </a:xfrm>
          <a:prstGeom prst="rect">
            <a:avLst/>
          </a:prstGeom>
          <a:solidFill>
            <a:srgbClr val="636EFA"/>
          </a:solidFill>
        </p:spPr>
      </p:pic>
      <p:sp>
        <p:nvSpPr>
          <p:cNvPr id="7" name="Rechteck 45">
            <a:extLst>
              <a:ext uri="{FF2B5EF4-FFF2-40B4-BE49-F238E27FC236}">
                <a16:creationId xmlns:a16="http://schemas.microsoft.com/office/drawing/2014/main" id="{C2A127FD-8F04-FA0C-DE2F-DCE24EA26FAB}"/>
              </a:ext>
            </a:extLst>
          </p:cNvPr>
          <p:cNvSpPr/>
          <p:nvPr/>
        </p:nvSpPr>
        <p:spPr>
          <a:xfrm>
            <a:off x="8480273" y="4262745"/>
            <a:ext cx="2990358" cy="12479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extfeld 46">
            <a:extLst>
              <a:ext uri="{FF2B5EF4-FFF2-40B4-BE49-F238E27FC236}">
                <a16:creationId xmlns:a16="http://schemas.microsoft.com/office/drawing/2014/main" id="{03B13C28-E9DE-6692-453B-ADB750FDC57A}"/>
              </a:ext>
            </a:extLst>
          </p:cNvPr>
          <p:cNvSpPr txBox="1"/>
          <p:nvPr/>
        </p:nvSpPr>
        <p:spPr>
          <a:xfrm>
            <a:off x="8614663" y="4272270"/>
            <a:ext cx="285596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TR-72, Embraer 120 and ATR-42 aircraft account for more than 94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f domestic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urope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argo flight movements by regional aircraft</a:t>
            </a:r>
          </a:p>
        </p:txBody>
      </p:sp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C94FE670-183A-65D2-946E-B6E872ED79EC}"/>
              </a:ext>
            </a:extLst>
          </p:cNvPr>
          <p:cNvGrpSpPr>
            <a:grpSpLocks noChangeAspect="1"/>
          </p:cNvGrpSpPr>
          <p:nvPr/>
        </p:nvGrpSpPr>
        <p:grpSpPr>
          <a:xfrm>
            <a:off x="8300014" y="4097645"/>
            <a:ext cx="360363" cy="360363"/>
            <a:chOff x="8192950" y="3801857"/>
            <a:chExt cx="720000" cy="720000"/>
          </a:xfrm>
        </p:grpSpPr>
        <p:sp>
          <p:nvSpPr>
            <p:cNvPr id="11" name="Ellipse 186">
              <a:extLst>
                <a:ext uri="{FF2B5EF4-FFF2-40B4-BE49-F238E27FC236}">
                  <a16:creationId xmlns:a16="http://schemas.microsoft.com/office/drawing/2014/main" id="{B415DB9A-1F38-7BB3-A97C-3264AB335F1C}"/>
                </a:ext>
              </a:extLst>
            </p:cNvPr>
            <p:cNvSpPr/>
            <p:nvPr/>
          </p:nvSpPr>
          <p:spPr>
            <a:xfrm>
              <a:off x="8192950" y="3801857"/>
              <a:ext cx="720000" cy="72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2" name="Group 9">
              <a:extLst>
                <a:ext uri="{FF2B5EF4-FFF2-40B4-BE49-F238E27FC236}">
                  <a16:creationId xmlns:a16="http://schemas.microsoft.com/office/drawing/2014/main" id="{EEFF8912-C728-BC9A-90F7-8ED7693ECB6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05302" y="3914209"/>
              <a:ext cx="495297" cy="495297"/>
              <a:chOff x="2864" y="1901"/>
              <a:chExt cx="515" cy="515"/>
            </a:xfrm>
            <a:solidFill>
              <a:schemeClr val="bg1"/>
            </a:solidFill>
          </p:grpSpPr>
          <p:sp>
            <p:nvSpPr>
              <p:cNvPr id="13" name="Freeform 10">
                <a:extLst>
                  <a:ext uri="{FF2B5EF4-FFF2-40B4-BE49-F238E27FC236}">
                    <a16:creationId xmlns:a16="http://schemas.microsoft.com/office/drawing/2014/main" id="{BC6BC841-3777-CD4D-08CD-750DB1537D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" y="2077"/>
                <a:ext cx="168" cy="279"/>
              </a:xfrm>
              <a:custGeom>
                <a:avLst/>
                <a:gdLst>
                  <a:gd name="T0" fmla="*/ 62 w 62"/>
                  <a:gd name="T1" fmla="*/ 70 h 103"/>
                  <a:gd name="T2" fmla="*/ 59 w 62"/>
                  <a:gd name="T3" fmla="*/ 73 h 103"/>
                  <a:gd name="T4" fmla="*/ 57 w 62"/>
                  <a:gd name="T5" fmla="*/ 76 h 103"/>
                  <a:gd name="T6" fmla="*/ 45 w 62"/>
                  <a:gd name="T7" fmla="*/ 87 h 103"/>
                  <a:gd name="T8" fmla="*/ 31 w 62"/>
                  <a:gd name="T9" fmla="*/ 96 h 103"/>
                  <a:gd name="T10" fmla="*/ 3 w 62"/>
                  <a:gd name="T11" fmla="*/ 81 h 103"/>
                  <a:gd name="T12" fmla="*/ 20 w 62"/>
                  <a:gd name="T13" fmla="*/ 24 h 103"/>
                  <a:gd name="T14" fmla="*/ 14 w 62"/>
                  <a:gd name="T15" fmla="*/ 19 h 103"/>
                  <a:gd name="T16" fmla="*/ 8 w 62"/>
                  <a:gd name="T17" fmla="*/ 23 h 103"/>
                  <a:gd name="T18" fmla="*/ 2 w 62"/>
                  <a:gd name="T19" fmla="*/ 27 h 103"/>
                  <a:gd name="T20" fmla="*/ 0 w 62"/>
                  <a:gd name="T21" fmla="*/ 23 h 103"/>
                  <a:gd name="T22" fmla="*/ 3 w 62"/>
                  <a:gd name="T23" fmla="*/ 18 h 103"/>
                  <a:gd name="T24" fmla="*/ 25 w 62"/>
                  <a:gd name="T25" fmla="*/ 4 h 103"/>
                  <a:gd name="T26" fmla="*/ 52 w 62"/>
                  <a:gd name="T27" fmla="*/ 29 h 103"/>
                  <a:gd name="T28" fmla="*/ 40 w 62"/>
                  <a:gd name="T29" fmla="*/ 69 h 103"/>
                  <a:gd name="T30" fmla="*/ 46 w 62"/>
                  <a:gd name="T31" fmla="*/ 76 h 103"/>
                  <a:gd name="T32" fmla="*/ 52 w 62"/>
                  <a:gd name="T33" fmla="*/ 71 h 103"/>
                  <a:gd name="T34" fmla="*/ 55 w 62"/>
                  <a:gd name="T35" fmla="*/ 68 h 103"/>
                  <a:gd name="T36" fmla="*/ 57 w 62"/>
                  <a:gd name="T37" fmla="*/ 66 h 103"/>
                  <a:gd name="T38" fmla="*/ 61 w 62"/>
                  <a:gd name="T39" fmla="*/ 67 h 103"/>
                  <a:gd name="T40" fmla="*/ 62 w 62"/>
                  <a:gd name="T41" fmla="*/ 7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2" h="103">
                    <a:moveTo>
                      <a:pt x="62" y="70"/>
                    </a:moveTo>
                    <a:cubicBezTo>
                      <a:pt x="62" y="71"/>
                      <a:pt x="60" y="72"/>
                      <a:pt x="59" y="73"/>
                    </a:cubicBezTo>
                    <a:cubicBezTo>
                      <a:pt x="58" y="74"/>
                      <a:pt x="58" y="75"/>
                      <a:pt x="57" y="76"/>
                    </a:cubicBezTo>
                    <a:cubicBezTo>
                      <a:pt x="53" y="80"/>
                      <a:pt x="49" y="84"/>
                      <a:pt x="45" y="87"/>
                    </a:cubicBezTo>
                    <a:cubicBezTo>
                      <a:pt x="41" y="91"/>
                      <a:pt x="36" y="94"/>
                      <a:pt x="31" y="96"/>
                    </a:cubicBezTo>
                    <a:cubicBezTo>
                      <a:pt x="15" y="103"/>
                      <a:pt x="1" y="97"/>
                      <a:pt x="3" y="81"/>
                    </a:cubicBezTo>
                    <a:cubicBezTo>
                      <a:pt x="5" y="65"/>
                      <a:pt x="19" y="30"/>
                      <a:pt x="20" y="24"/>
                    </a:cubicBezTo>
                    <a:cubicBezTo>
                      <a:pt x="22" y="17"/>
                      <a:pt x="18" y="16"/>
                      <a:pt x="14" y="19"/>
                    </a:cubicBezTo>
                    <a:cubicBezTo>
                      <a:pt x="11" y="20"/>
                      <a:pt x="10" y="22"/>
                      <a:pt x="8" y="23"/>
                    </a:cubicBezTo>
                    <a:cubicBezTo>
                      <a:pt x="6" y="25"/>
                      <a:pt x="5" y="27"/>
                      <a:pt x="2" y="27"/>
                    </a:cubicBezTo>
                    <a:cubicBezTo>
                      <a:pt x="1" y="26"/>
                      <a:pt x="0" y="24"/>
                      <a:pt x="0" y="23"/>
                    </a:cubicBezTo>
                    <a:cubicBezTo>
                      <a:pt x="0" y="21"/>
                      <a:pt x="2" y="20"/>
                      <a:pt x="3" y="18"/>
                    </a:cubicBezTo>
                    <a:cubicBezTo>
                      <a:pt x="9" y="12"/>
                      <a:pt x="16" y="7"/>
                      <a:pt x="25" y="4"/>
                    </a:cubicBezTo>
                    <a:cubicBezTo>
                      <a:pt x="38" y="0"/>
                      <a:pt x="60" y="4"/>
                      <a:pt x="52" y="29"/>
                    </a:cubicBezTo>
                    <a:cubicBezTo>
                      <a:pt x="46" y="47"/>
                      <a:pt x="42" y="60"/>
                      <a:pt x="40" y="69"/>
                    </a:cubicBezTo>
                    <a:cubicBezTo>
                      <a:pt x="37" y="78"/>
                      <a:pt x="41" y="80"/>
                      <a:pt x="46" y="76"/>
                    </a:cubicBezTo>
                    <a:cubicBezTo>
                      <a:pt x="48" y="74"/>
                      <a:pt x="50" y="73"/>
                      <a:pt x="52" y="71"/>
                    </a:cubicBezTo>
                    <a:cubicBezTo>
                      <a:pt x="53" y="70"/>
                      <a:pt x="54" y="69"/>
                      <a:pt x="55" y="68"/>
                    </a:cubicBezTo>
                    <a:cubicBezTo>
                      <a:pt x="55" y="68"/>
                      <a:pt x="56" y="67"/>
                      <a:pt x="57" y="66"/>
                    </a:cubicBezTo>
                    <a:cubicBezTo>
                      <a:pt x="58" y="66"/>
                      <a:pt x="60" y="66"/>
                      <a:pt x="61" y="67"/>
                    </a:cubicBezTo>
                    <a:cubicBezTo>
                      <a:pt x="62" y="68"/>
                      <a:pt x="62" y="69"/>
                      <a:pt x="6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4" name="Freeform 11">
                <a:extLst>
                  <a:ext uri="{FF2B5EF4-FFF2-40B4-BE49-F238E27FC236}">
                    <a16:creationId xmlns:a16="http://schemas.microsoft.com/office/drawing/2014/main" id="{E5F63B91-8877-201D-DE91-FCDE06684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8" y="1972"/>
                <a:ext cx="100" cy="100"/>
              </a:xfrm>
              <a:custGeom>
                <a:avLst/>
                <a:gdLst>
                  <a:gd name="T0" fmla="*/ 20 w 37"/>
                  <a:gd name="T1" fmla="*/ 37 h 37"/>
                  <a:gd name="T2" fmla="*/ 1 w 37"/>
                  <a:gd name="T3" fmla="*/ 20 h 37"/>
                  <a:gd name="T4" fmla="*/ 18 w 37"/>
                  <a:gd name="T5" fmla="*/ 1 h 37"/>
                  <a:gd name="T6" fmla="*/ 37 w 37"/>
                  <a:gd name="T7" fmla="*/ 18 h 37"/>
                  <a:gd name="T8" fmla="*/ 20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0" y="37"/>
                    </a:moveTo>
                    <a:cubicBezTo>
                      <a:pt x="10" y="37"/>
                      <a:pt x="1" y="30"/>
                      <a:pt x="1" y="20"/>
                    </a:cubicBezTo>
                    <a:cubicBezTo>
                      <a:pt x="0" y="10"/>
                      <a:pt x="8" y="1"/>
                      <a:pt x="18" y="1"/>
                    </a:cubicBezTo>
                    <a:cubicBezTo>
                      <a:pt x="28" y="0"/>
                      <a:pt x="36" y="8"/>
                      <a:pt x="37" y="18"/>
                    </a:cubicBezTo>
                    <a:cubicBezTo>
                      <a:pt x="37" y="28"/>
                      <a:pt x="30" y="36"/>
                      <a:pt x="20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5" name="Freeform 12">
                <a:extLst>
                  <a:ext uri="{FF2B5EF4-FFF2-40B4-BE49-F238E27FC236}">
                    <a16:creationId xmlns:a16="http://schemas.microsoft.com/office/drawing/2014/main" id="{A0C930E2-03A7-5F9E-BB5C-10814FC6EB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4" y="1901"/>
                <a:ext cx="515" cy="515"/>
              </a:xfrm>
              <a:custGeom>
                <a:avLst/>
                <a:gdLst>
                  <a:gd name="T0" fmla="*/ 95 w 190"/>
                  <a:gd name="T1" fmla="*/ 0 h 190"/>
                  <a:gd name="T2" fmla="*/ 0 w 190"/>
                  <a:gd name="T3" fmla="*/ 95 h 190"/>
                  <a:gd name="T4" fmla="*/ 95 w 190"/>
                  <a:gd name="T5" fmla="*/ 190 h 190"/>
                  <a:gd name="T6" fmla="*/ 190 w 190"/>
                  <a:gd name="T7" fmla="*/ 95 h 190"/>
                  <a:gd name="T8" fmla="*/ 95 w 190"/>
                  <a:gd name="T9" fmla="*/ 0 h 190"/>
                  <a:gd name="T10" fmla="*/ 95 w 190"/>
                  <a:gd name="T11" fmla="*/ 178 h 190"/>
                  <a:gd name="T12" fmla="*/ 12 w 190"/>
                  <a:gd name="T13" fmla="*/ 95 h 190"/>
                  <a:gd name="T14" fmla="*/ 95 w 190"/>
                  <a:gd name="T15" fmla="*/ 12 h 190"/>
                  <a:gd name="T16" fmla="*/ 178 w 190"/>
                  <a:gd name="T17" fmla="*/ 95 h 190"/>
                  <a:gd name="T18" fmla="*/ 95 w 190"/>
                  <a:gd name="T19" fmla="*/ 178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0" h="190">
                    <a:moveTo>
                      <a:pt x="95" y="0"/>
                    </a:moveTo>
                    <a:cubicBezTo>
                      <a:pt x="42" y="0"/>
                      <a:pt x="0" y="43"/>
                      <a:pt x="0" y="95"/>
                    </a:cubicBezTo>
                    <a:cubicBezTo>
                      <a:pt x="0" y="148"/>
                      <a:pt x="42" y="190"/>
                      <a:pt x="95" y="190"/>
                    </a:cubicBezTo>
                    <a:cubicBezTo>
                      <a:pt x="147" y="190"/>
                      <a:pt x="190" y="148"/>
                      <a:pt x="190" y="95"/>
                    </a:cubicBezTo>
                    <a:cubicBezTo>
                      <a:pt x="190" y="43"/>
                      <a:pt x="147" y="0"/>
                      <a:pt x="95" y="0"/>
                    </a:cubicBezTo>
                    <a:close/>
                    <a:moveTo>
                      <a:pt x="95" y="178"/>
                    </a:moveTo>
                    <a:cubicBezTo>
                      <a:pt x="49" y="178"/>
                      <a:pt x="12" y="141"/>
                      <a:pt x="12" y="95"/>
                    </a:cubicBezTo>
                    <a:cubicBezTo>
                      <a:pt x="12" y="49"/>
                      <a:pt x="49" y="12"/>
                      <a:pt x="95" y="12"/>
                    </a:cubicBezTo>
                    <a:cubicBezTo>
                      <a:pt x="141" y="12"/>
                      <a:pt x="178" y="49"/>
                      <a:pt x="178" y="95"/>
                    </a:cubicBezTo>
                    <a:cubicBezTo>
                      <a:pt x="178" y="141"/>
                      <a:pt x="141" y="178"/>
                      <a:pt x="95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Textfeld 2">
            <a:extLst>
              <a:ext uri="{FF2B5EF4-FFF2-40B4-BE49-F238E27FC236}">
                <a16:creationId xmlns:a16="http://schemas.microsoft.com/office/drawing/2014/main" id="{195C6A91-052E-F6D7-9DD1-47CE556BD0BF}"/>
              </a:ext>
            </a:extLst>
          </p:cNvPr>
          <p:cNvSpPr txBox="1"/>
          <p:nvPr/>
        </p:nvSpPr>
        <p:spPr>
          <a:xfrm>
            <a:off x="455347" y="6317293"/>
            <a:ext cx="611703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ources: Eurostat, 2022; Bureau of Transportation Statistics, 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Federal Express has a waiver to report all its small aircraft as Beech 18 C-185 (BE18), regardless of actual aircraft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This file is licensed under the Creative Commons Attribution-Share Alike 2.0 Generic license.</a:t>
            </a:r>
          </a:p>
        </p:txBody>
      </p:sp>
      <p:sp>
        <p:nvSpPr>
          <p:cNvPr id="17" name="Rechteck 216">
            <a:extLst>
              <a:ext uri="{FF2B5EF4-FFF2-40B4-BE49-F238E27FC236}">
                <a16:creationId xmlns:a16="http://schemas.microsoft.com/office/drawing/2014/main" id="{9523C335-7FC7-E019-546A-70A7FF1FB6C1}"/>
              </a:ext>
            </a:extLst>
          </p:cNvPr>
          <p:cNvSpPr/>
          <p:nvPr/>
        </p:nvSpPr>
        <p:spPr>
          <a:xfrm>
            <a:off x="2867668" y="2105580"/>
            <a:ext cx="2253354" cy="1030501"/>
          </a:xfrm>
          <a:prstGeom prst="rect">
            <a:avLst/>
          </a:prstGeom>
          <a:solidFill>
            <a:srgbClr val="00658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8" name="Gruppieren 230">
            <a:extLst>
              <a:ext uri="{FF2B5EF4-FFF2-40B4-BE49-F238E27FC236}">
                <a16:creationId xmlns:a16="http://schemas.microsoft.com/office/drawing/2014/main" id="{C557E611-35B1-E1A5-2755-8ABD19CC8A9E}"/>
              </a:ext>
            </a:extLst>
          </p:cNvPr>
          <p:cNvGrpSpPr>
            <a:grpSpLocks noChangeAspect="1"/>
          </p:cNvGrpSpPr>
          <p:nvPr/>
        </p:nvGrpSpPr>
        <p:grpSpPr>
          <a:xfrm>
            <a:off x="2687409" y="1940480"/>
            <a:ext cx="360363" cy="360363"/>
            <a:chOff x="8192950" y="3801857"/>
            <a:chExt cx="720000" cy="720000"/>
          </a:xfrm>
        </p:grpSpPr>
        <p:sp>
          <p:nvSpPr>
            <p:cNvPr id="19" name="Ellipse 186">
              <a:extLst>
                <a:ext uri="{FF2B5EF4-FFF2-40B4-BE49-F238E27FC236}">
                  <a16:creationId xmlns:a16="http://schemas.microsoft.com/office/drawing/2014/main" id="{4D10543C-B124-C75C-FDBC-0828DFC319FE}"/>
                </a:ext>
              </a:extLst>
            </p:cNvPr>
            <p:cNvSpPr/>
            <p:nvPr/>
          </p:nvSpPr>
          <p:spPr>
            <a:xfrm>
              <a:off x="8192950" y="3801857"/>
              <a:ext cx="720000" cy="720000"/>
            </a:xfrm>
            <a:prstGeom prst="ellipse">
              <a:avLst/>
            </a:prstGeom>
            <a:solidFill>
              <a:srgbClr val="00658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0" name="Group 9">
              <a:extLst>
                <a:ext uri="{FF2B5EF4-FFF2-40B4-BE49-F238E27FC236}">
                  <a16:creationId xmlns:a16="http://schemas.microsoft.com/office/drawing/2014/main" id="{3EC04D39-D7CE-DD00-8854-A0BBA1DADA4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05302" y="3914209"/>
              <a:ext cx="495297" cy="495297"/>
              <a:chOff x="2864" y="1901"/>
              <a:chExt cx="515" cy="515"/>
            </a:xfrm>
            <a:solidFill>
              <a:schemeClr val="bg1"/>
            </a:solidFill>
          </p:grpSpPr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169B4DB8-42D8-FFAE-DFF3-8C0D67653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" y="2077"/>
                <a:ext cx="168" cy="279"/>
              </a:xfrm>
              <a:custGeom>
                <a:avLst/>
                <a:gdLst>
                  <a:gd name="T0" fmla="*/ 62 w 62"/>
                  <a:gd name="T1" fmla="*/ 70 h 103"/>
                  <a:gd name="T2" fmla="*/ 59 w 62"/>
                  <a:gd name="T3" fmla="*/ 73 h 103"/>
                  <a:gd name="T4" fmla="*/ 57 w 62"/>
                  <a:gd name="T5" fmla="*/ 76 h 103"/>
                  <a:gd name="T6" fmla="*/ 45 w 62"/>
                  <a:gd name="T7" fmla="*/ 87 h 103"/>
                  <a:gd name="T8" fmla="*/ 31 w 62"/>
                  <a:gd name="T9" fmla="*/ 96 h 103"/>
                  <a:gd name="T10" fmla="*/ 3 w 62"/>
                  <a:gd name="T11" fmla="*/ 81 h 103"/>
                  <a:gd name="T12" fmla="*/ 20 w 62"/>
                  <a:gd name="T13" fmla="*/ 24 h 103"/>
                  <a:gd name="T14" fmla="*/ 14 w 62"/>
                  <a:gd name="T15" fmla="*/ 19 h 103"/>
                  <a:gd name="T16" fmla="*/ 8 w 62"/>
                  <a:gd name="T17" fmla="*/ 23 h 103"/>
                  <a:gd name="T18" fmla="*/ 2 w 62"/>
                  <a:gd name="T19" fmla="*/ 27 h 103"/>
                  <a:gd name="T20" fmla="*/ 0 w 62"/>
                  <a:gd name="T21" fmla="*/ 23 h 103"/>
                  <a:gd name="T22" fmla="*/ 3 w 62"/>
                  <a:gd name="T23" fmla="*/ 18 h 103"/>
                  <a:gd name="T24" fmla="*/ 25 w 62"/>
                  <a:gd name="T25" fmla="*/ 4 h 103"/>
                  <a:gd name="T26" fmla="*/ 52 w 62"/>
                  <a:gd name="T27" fmla="*/ 29 h 103"/>
                  <a:gd name="T28" fmla="*/ 40 w 62"/>
                  <a:gd name="T29" fmla="*/ 69 h 103"/>
                  <a:gd name="T30" fmla="*/ 46 w 62"/>
                  <a:gd name="T31" fmla="*/ 76 h 103"/>
                  <a:gd name="T32" fmla="*/ 52 w 62"/>
                  <a:gd name="T33" fmla="*/ 71 h 103"/>
                  <a:gd name="T34" fmla="*/ 55 w 62"/>
                  <a:gd name="T35" fmla="*/ 68 h 103"/>
                  <a:gd name="T36" fmla="*/ 57 w 62"/>
                  <a:gd name="T37" fmla="*/ 66 h 103"/>
                  <a:gd name="T38" fmla="*/ 61 w 62"/>
                  <a:gd name="T39" fmla="*/ 67 h 103"/>
                  <a:gd name="T40" fmla="*/ 62 w 62"/>
                  <a:gd name="T41" fmla="*/ 7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2" h="103">
                    <a:moveTo>
                      <a:pt x="62" y="70"/>
                    </a:moveTo>
                    <a:cubicBezTo>
                      <a:pt x="62" y="71"/>
                      <a:pt x="60" y="72"/>
                      <a:pt x="59" y="73"/>
                    </a:cubicBezTo>
                    <a:cubicBezTo>
                      <a:pt x="58" y="74"/>
                      <a:pt x="58" y="75"/>
                      <a:pt x="57" y="76"/>
                    </a:cubicBezTo>
                    <a:cubicBezTo>
                      <a:pt x="53" y="80"/>
                      <a:pt x="49" y="84"/>
                      <a:pt x="45" y="87"/>
                    </a:cubicBezTo>
                    <a:cubicBezTo>
                      <a:pt x="41" y="91"/>
                      <a:pt x="36" y="94"/>
                      <a:pt x="31" y="96"/>
                    </a:cubicBezTo>
                    <a:cubicBezTo>
                      <a:pt x="15" y="103"/>
                      <a:pt x="1" y="97"/>
                      <a:pt x="3" y="81"/>
                    </a:cubicBezTo>
                    <a:cubicBezTo>
                      <a:pt x="5" y="65"/>
                      <a:pt x="19" y="30"/>
                      <a:pt x="20" y="24"/>
                    </a:cubicBezTo>
                    <a:cubicBezTo>
                      <a:pt x="22" y="17"/>
                      <a:pt x="18" y="16"/>
                      <a:pt x="14" y="19"/>
                    </a:cubicBezTo>
                    <a:cubicBezTo>
                      <a:pt x="11" y="20"/>
                      <a:pt x="10" y="22"/>
                      <a:pt x="8" y="23"/>
                    </a:cubicBezTo>
                    <a:cubicBezTo>
                      <a:pt x="6" y="25"/>
                      <a:pt x="5" y="27"/>
                      <a:pt x="2" y="27"/>
                    </a:cubicBezTo>
                    <a:cubicBezTo>
                      <a:pt x="1" y="26"/>
                      <a:pt x="0" y="24"/>
                      <a:pt x="0" y="23"/>
                    </a:cubicBezTo>
                    <a:cubicBezTo>
                      <a:pt x="0" y="21"/>
                      <a:pt x="2" y="20"/>
                      <a:pt x="3" y="18"/>
                    </a:cubicBezTo>
                    <a:cubicBezTo>
                      <a:pt x="9" y="12"/>
                      <a:pt x="16" y="7"/>
                      <a:pt x="25" y="4"/>
                    </a:cubicBezTo>
                    <a:cubicBezTo>
                      <a:pt x="38" y="0"/>
                      <a:pt x="60" y="4"/>
                      <a:pt x="52" y="29"/>
                    </a:cubicBezTo>
                    <a:cubicBezTo>
                      <a:pt x="46" y="47"/>
                      <a:pt x="42" y="60"/>
                      <a:pt x="40" y="69"/>
                    </a:cubicBezTo>
                    <a:cubicBezTo>
                      <a:pt x="37" y="78"/>
                      <a:pt x="41" y="80"/>
                      <a:pt x="46" y="76"/>
                    </a:cubicBezTo>
                    <a:cubicBezTo>
                      <a:pt x="48" y="74"/>
                      <a:pt x="50" y="73"/>
                      <a:pt x="52" y="71"/>
                    </a:cubicBezTo>
                    <a:cubicBezTo>
                      <a:pt x="53" y="70"/>
                      <a:pt x="54" y="69"/>
                      <a:pt x="55" y="68"/>
                    </a:cubicBezTo>
                    <a:cubicBezTo>
                      <a:pt x="55" y="68"/>
                      <a:pt x="56" y="67"/>
                      <a:pt x="57" y="66"/>
                    </a:cubicBezTo>
                    <a:cubicBezTo>
                      <a:pt x="58" y="66"/>
                      <a:pt x="60" y="66"/>
                      <a:pt x="61" y="67"/>
                    </a:cubicBezTo>
                    <a:cubicBezTo>
                      <a:pt x="62" y="68"/>
                      <a:pt x="62" y="69"/>
                      <a:pt x="6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E7184E91-9479-875E-AAE6-BCB23D718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8" y="1972"/>
                <a:ext cx="100" cy="100"/>
              </a:xfrm>
              <a:custGeom>
                <a:avLst/>
                <a:gdLst>
                  <a:gd name="T0" fmla="*/ 20 w 37"/>
                  <a:gd name="T1" fmla="*/ 37 h 37"/>
                  <a:gd name="T2" fmla="*/ 1 w 37"/>
                  <a:gd name="T3" fmla="*/ 20 h 37"/>
                  <a:gd name="T4" fmla="*/ 18 w 37"/>
                  <a:gd name="T5" fmla="*/ 1 h 37"/>
                  <a:gd name="T6" fmla="*/ 37 w 37"/>
                  <a:gd name="T7" fmla="*/ 18 h 37"/>
                  <a:gd name="T8" fmla="*/ 20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0" y="37"/>
                    </a:moveTo>
                    <a:cubicBezTo>
                      <a:pt x="10" y="37"/>
                      <a:pt x="1" y="30"/>
                      <a:pt x="1" y="20"/>
                    </a:cubicBezTo>
                    <a:cubicBezTo>
                      <a:pt x="0" y="10"/>
                      <a:pt x="8" y="1"/>
                      <a:pt x="18" y="1"/>
                    </a:cubicBezTo>
                    <a:cubicBezTo>
                      <a:pt x="28" y="0"/>
                      <a:pt x="36" y="8"/>
                      <a:pt x="37" y="18"/>
                    </a:cubicBezTo>
                    <a:cubicBezTo>
                      <a:pt x="37" y="28"/>
                      <a:pt x="30" y="36"/>
                      <a:pt x="20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0EB7B51D-BB82-4ED6-66CC-37AE3AFFB1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4" y="1901"/>
                <a:ext cx="515" cy="515"/>
              </a:xfrm>
              <a:custGeom>
                <a:avLst/>
                <a:gdLst>
                  <a:gd name="T0" fmla="*/ 95 w 190"/>
                  <a:gd name="T1" fmla="*/ 0 h 190"/>
                  <a:gd name="T2" fmla="*/ 0 w 190"/>
                  <a:gd name="T3" fmla="*/ 95 h 190"/>
                  <a:gd name="T4" fmla="*/ 95 w 190"/>
                  <a:gd name="T5" fmla="*/ 190 h 190"/>
                  <a:gd name="T6" fmla="*/ 190 w 190"/>
                  <a:gd name="T7" fmla="*/ 95 h 190"/>
                  <a:gd name="T8" fmla="*/ 95 w 190"/>
                  <a:gd name="T9" fmla="*/ 0 h 190"/>
                  <a:gd name="T10" fmla="*/ 95 w 190"/>
                  <a:gd name="T11" fmla="*/ 178 h 190"/>
                  <a:gd name="T12" fmla="*/ 12 w 190"/>
                  <a:gd name="T13" fmla="*/ 95 h 190"/>
                  <a:gd name="T14" fmla="*/ 95 w 190"/>
                  <a:gd name="T15" fmla="*/ 12 h 190"/>
                  <a:gd name="T16" fmla="*/ 178 w 190"/>
                  <a:gd name="T17" fmla="*/ 95 h 190"/>
                  <a:gd name="T18" fmla="*/ 95 w 190"/>
                  <a:gd name="T19" fmla="*/ 178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0" h="190">
                    <a:moveTo>
                      <a:pt x="95" y="0"/>
                    </a:moveTo>
                    <a:cubicBezTo>
                      <a:pt x="42" y="0"/>
                      <a:pt x="0" y="43"/>
                      <a:pt x="0" y="95"/>
                    </a:cubicBezTo>
                    <a:cubicBezTo>
                      <a:pt x="0" y="148"/>
                      <a:pt x="42" y="190"/>
                      <a:pt x="95" y="190"/>
                    </a:cubicBezTo>
                    <a:cubicBezTo>
                      <a:pt x="147" y="190"/>
                      <a:pt x="190" y="148"/>
                      <a:pt x="190" y="95"/>
                    </a:cubicBezTo>
                    <a:cubicBezTo>
                      <a:pt x="190" y="43"/>
                      <a:pt x="147" y="0"/>
                      <a:pt x="95" y="0"/>
                    </a:cubicBezTo>
                    <a:close/>
                    <a:moveTo>
                      <a:pt x="95" y="178"/>
                    </a:moveTo>
                    <a:cubicBezTo>
                      <a:pt x="49" y="178"/>
                      <a:pt x="12" y="141"/>
                      <a:pt x="12" y="95"/>
                    </a:cubicBezTo>
                    <a:cubicBezTo>
                      <a:pt x="12" y="49"/>
                      <a:pt x="49" y="12"/>
                      <a:pt x="95" y="12"/>
                    </a:cubicBezTo>
                    <a:cubicBezTo>
                      <a:pt x="141" y="12"/>
                      <a:pt x="178" y="49"/>
                      <a:pt x="178" y="95"/>
                    </a:cubicBezTo>
                    <a:cubicBezTo>
                      <a:pt x="178" y="141"/>
                      <a:pt x="141" y="178"/>
                      <a:pt x="95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Textfeld 217">
            <a:extLst>
              <a:ext uri="{FF2B5EF4-FFF2-40B4-BE49-F238E27FC236}">
                <a16:creationId xmlns:a16="http://schemas.microsoft.com/office/drawing/2014/main" id="{1327672C-C10F-67D2-26E4-1FBEAA4AA906}"/>
              </a:ext>
            </a:extLst>
          </p:cNvPr>
          <p:cNvSpPr txBox="1"/>
          <p:nvPr/>
        </p:nvSpPr>
        <p:spPr>
          <a:xfrm>
            <a:off x="3002058" y="2115105"/>
            <a:ext cx="216067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ssna 208 Caravan is the dominant aircraft in the US market but is not used in Europe</a:t>
            </a:r>
          </a:p>
        </p:txBody>
      </p:sp>
    </p:spTree>
    <p:extLst>
      <p:ext uri="{BB962C8B-B14F-4D97-AF65-F5344CB8AC3E}">
        <p14:creationId xmlns:p14="http://schemas.microsoft.com/office/powerpoint/2010/main" val="2128223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4" grpId="0"/>
      <p:bldP spid="7" grpId="0" animBg="1"/>
      <p:bldP spid="9" grpId="0"/>
      <p:bldP spid="17" grpId="0" animBg="1"/>
      <p:bldP spid="3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127170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Characteristics of Regional </a:t>
            </a:r>
            <a:r>
              <a:rPr lang="en-US" sz="3200" dirty="0">
                <a:solidFill>
                  <a:srgbClr val="00658B"/>
                </a:solidFill>
              </a:rPr>
              <a:t>A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ir </a:t>
            </a:r>
            <a:r>
              <a:rPr lang="en-US" sz="3200" dirty="0">
                <a:solidFill>
                  <a:srgbClr val="00658B"/>
                </a:solidFill>
              </a:rPr>
              <a:t>C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rgo </a:t>
            </a:r>
            <a:r>
              <a:rPr lang="en-US" sz="3200" dirty="0">
                <a:solidFill>
                  <a:srgbClr val="00658B"/>
                </a:solidFill>
              </a:rPr>
              <a:t>O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perations</a:t>
            </a:r>
            <a:br>
              <a:rPr lang="en-US" sz="2800" dirty="0"/>
            </a:b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627200"/>
            <a:ext cx="10748122" cy="48958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What is a good flight distance cut-off for regional air cargo operations?</a:t>
            </a:r>
          </a:p>
          <a:p>
            <a:r>
              <a:rPr lang="en-US" sz="2000" dirty="0"/>
              <a:t>NASA’s definition of RAM: ≈ 100-1,000 km</a:t>
            </a:r>
          </a:p>
          <a:p>
            <a:r>
              <a:rPr lang="en-US" sz="2000" dirty="0"/>
              <a:t>LMI study on automated air cargo: ≈ 140-1,850 km</a:t>
            </a:r>
          </a:p>
          <a:p>
            <a:r>
              <a:rPr lang="en-US" sz="2000" dirty="0"/>
              <a:t>Discussions with industry experts revealed:</a:t>
            </a:r>
          </a:p>
          <a:p>
            <a:pPr lvl="1"/>
            <a:r>
              <a:rPr lang="en-US" dirty="0"/>
              <a:t>Flights need to meet cargo sorting deadlines</a:t>
            </a:r>
          </a:p>
          <a:p>
            <a:pPr lvl="1"/>
            <a:r>
              <a:rPr lang="en-US" dirty="0"/>
              <a:t>Regional air cargo flights in the US are typically &lt;1.5 hours in duration</a:t>
            </a:r>
          </a:p>
          <a:p>
            <a:r>
              <a:rPr lang="en-US" sz="2000" dirty="0"/>
              <a:t>Analysis of flight distances for cargo in US and Europe showed that 1,000 km was an appropriate cut-off</a:t>
            </a:r>
          </a:p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b="1" dirty="0">
                <a:solidFill>
                  <a:srgbClr val="00658B"/>
                </a:solidFill>
              </a:rPr>
              <a:t>	Regional air cargo flights with &lt;1,000 km distance</a:t>
            </a:r>
          </a:p>
          <a:p>
            <a:endParaRPr lang="en-US" sz="2000" dirty="0"/>
          </a:p>
          <a:p>
            <a:endParaRPr lang="en-US" sz="28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457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5163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Introduction and Background</a:t>
            </a:r>
            <a:br>
              <a:rPr lang="en-US" sz="3200" dirty="0"/>
            </a:br>
            <a:r>
              <a:rPr lang="en-US" sz="2400" dirty="0"/>
              <a:t>Motivation</a:t>
            </a:r>
            <a:endParaRPr lang="en-US" sz="2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stablish a </a:t>
            </a:r>
            <a:r>
              <a:rPr lang="en-US" u="sng" dirty="0"/>
              <a:t>baseline</a:t>
            </a:r>
            <a:r>
              <a:rPr lang="en-US" dirty="0"/>
              <a:t> to assess the accessibility potential of regional cargo UAS</a:t>
            </a:r>
            <a:endParaRPr lang="en-US" u="sng" dirty="0"/>
          </a:p>
          <a:p>
            <a:r>
              <a:rPr lang="en-US" b="1" dirty="0">
                <a:solidFill>
                  <a:srgbClr val="00658B"/>
                </a:solidFill>
              </a:rPr>
              <a:t>Uncrewed Aircraft Systems (UAS)</a:t>
            </a:r>
            <a:r>
              <a:rPr lang="en-US" dirty="0">
                <a:solidFill>
                  <a:srgbClr val="00658B"/>
                </a:solidFill>
              </a:rPr>
              <a:t> </a:t>
            </a:r>
            <a:r>
              <a:rPr lang="en-US" dirty="0"/>
              <a:t>are projected to increase in frequency and density of operation in the coming years </a:t>
            </a:r>
          </a:p>
          <a:p>
            <a:r>
              <a:rPr lang="en-US" dirty="0"/>
              <a:t>Fixed-wing UAS are expected to be part of newly developing aviation markets, termed Advanced Air Mobility (AAM) </a:t>
            </a:r>
          </a:p>
          <a:p>
            <a:r>
              <a:rPr lang="en-US" b="1" dirty="0">
                <a:solidFill>
                  <a:srgbClr val="00658B"/>
                </a:solidFill>
              </a:rPr>
              <a:t>Regional flights </a:t>
            </a:r>
            <a:r>
              <a:rPr lang="en-US" dirty="0"/>
              <a:t>are short-haul flight operations using primarily fixed-wing aircraft and existing runway infrastructure</a:t>
            </a:r>
          </a:p>
          <a:p>
            <a:r>
              <a:rPr lang="en-US" dirty="0"/>
              <a:t>Regional operations have decreased significantly in recent decades, focusing operations at major airports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sz="28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043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1496674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Characteristics of Regional </a:t>
            </a:r>
            <a:r>
              <a:rPr lang="en-US" sz="3200" dirty="0">
                <a:solidFill>
                  <a:srgbClr val="00658B"/>
                </a:solidFill>
              </a:rPr>
              <a:t>A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ir </a:t>
            </a:r>
            <a:r>
              <a:rPr lang="en-US" sz="3200" dirty="0">
                <a:solidFill>
                  <a:srgbClr val="00658B"/>
                </a:solidFill>
              </a:rPr>
              <a:t>C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rgo </a:t>
            </a:r>
            <a:r>
              <a:rPr lang="en-US" sz="3200" dirty="0">
                <a:solidFill>
                  <a:srgbClr val="00658B"/>
                </a:solidFill>
              </a:rPr>
              <a:t>O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perations</a:t>
            </a:r>
            <a:br>
              <a:rPr lang="en-US" sz="2800" dirty="0"/>
            </a:br>
            <a:r>
              <a:rPr lang="en-US" sz="2400" dirty="0"/>
              <a:t>What percentage of operations are regional?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083B6BB-876F-1416-E60F-4F2196EF3380}"/>
              </a:ext>
            </a:extLst>
          </p:cNvPr>
          <p:cNvGraphicFramePr>
            <a:graphicFrameLocks noGrp="1"/>
          </p:cNvGraphicFramePr>
          <p:nvPr/>
        </p:nvGraphicFramePr>
        <p:xfrm>
          <a:off x="789455" y="2225540"/>
          <a:ext cx="10376529" cy="318809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692726">
                  <a:extLst>
                    <a:ext uri="{9D8B030D-6E8A-4147-A177-3AD203B41FA5}">
                      <a16:colId xmlns:a16="http://schemas.microsoft.com/office/drawing/2014/main" val="3865713262"/>
                    </a:ext>
                  </a:extLst>
                </a:gridCol>
                <a:gridCol w="254503">
                  <a:extLst>
                    <a:ext uri="{9D8B030D-6E8A-4147-A177-3AD203B41FA5}">
                      <a16:colId xmlns:a16="http://schemas.microsoft.com/office/drawing/2014/main" val="3160554561"/>
                    </a:ext>
                  </a:extLst>
                </a:gridCol>
                <a:gridCol w="2687303">
                  <a:extLst>
                    <a:ext uri="{9D8B030D-6E8A-4147-A177-3AD203B41FA5}">
                      <a16:colId xmlns:a16="http://schemas.microsoft.com/office/drawing/2014/main" val="3633147583"/>
                    </a:ext>
                  </a:extLst>
                </a:gridCol>
                <a:gridCol w="254503">
                  <a:extLst>
                    <a:ext uri="{9D8B030D-6E8A-4147-A177-3AD203B41FA5}">
                      <a16:colId xmlns:a16="http://schemas.microsoft.com/office/drawing/2014/main" val="3062029782"/>
                    </a:ext>
                  </a:extLst>
                </a:gridCol>
                <a:gridCol w="2487494">
                  <a:extLst>
                    <a:ext uri="{9D8B030D-6E8A-4147-A177-3AD203B41FA5}">
                      <a16:colId xmlns:a16="http://schemas.microsoft.com/office/drawing/2014/main" val="128937906"/>
                    </a:ext>
                  </a:extLst>
                </a:gridCol>
              </a:tblGrid>
              <a:tr h="87858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argo Flight Movements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&lt;1,000 kilometers</a:t>
                      </a:r>
                      <a:endParaRPr lang="en-US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i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European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percentage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by all distanc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i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United States percentage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by all distances</a:t>
                      </a:r>
                    </a:p>
                  </a:txBody>
                  <a:tcPr marL="68580" marR="68580" marT="0" marB="0" anchor="ctr">
                    <a:solidFill>
                      <a:srgbClr val="636E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809256"/>
                  </a:ext>
                </a:extLst>
              </a:tr>
              <a:tr h="51174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Total by all aircraft types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8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7EB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3%</a:t>
                      </a:r>
                    </a:p>
                  </a:txBody>
                  <a:tcPr marL="68580" marR="68580" marT="0" marB="0" anchor="ctr">
                    <a:solidFill>
                      <a:srgbClr val="E7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82191"/>
                  </a:ext>
                </a:extLst>
              </a:tr>
              <a:tr h="59738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Total by regional aircraft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available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7EB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5%</a:t>
                      </a:r>
                    </a:p>
                  </a:txBody>
                  <a:tcPr marL="68580" marR="68580" marT="0" marB="0" anchor="ctr">
                    <a:solidFill>
                      <a:srgbClr val="E7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8102990"/>
                  </a:ext>
                </a:extLst>
              </a:tr>
              <a:tr h="60300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Domestic by all aircraft types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4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7EB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2%</a:t>
                      </a:r>
                    </a:p>
                  </a:txBody>
                  <a:tcPr marL="68580" marR="68580" marT="0" marB="0" anchor="ctr">
                    <a:solidFill>
                      <a:srgbClr val="E7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4888586"/>
                  </a:ext>
                </a:extLst>
              </a:tr>
              <a:tr h="59738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Domestic by regional aircraft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available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7EB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rgbClr val="00658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7%</a:t>
                      </a:r>
                    </a:p>
                  </a:txBody>
                  <a:tcPr marL="68580" marR="68580" marT="0" marB="0" anchor="ctr">
                    <a:solidFill>
                      <a:srgbClr val="E7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0414332"/>
                  </a:ext>
                </a:extLst>
              </a:tr>
            </a:tbl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7ACE7583-6C49-491E-2621-EFA64DD4194C}"/>
              </a:ext>
            </a:extLst>
          </p:cNvPr>
          <p:cNvSpPr/>
          <p:nvPr/>
        </p:nvSpPr>
        <p:spPr>
          <a:xfrm>
            <a:off x="5728961" y="4211975"/>
            <a:ext cx="2700262" cy="61642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06610F3-1D91-D6CF-A4E8-6926B7EC3F06}"/>
              </a:ext>
            </a:extLst>
          </p:cNvPr>
          <p:cNvSpPr/>
          <p:nvPr/>
        </p:nvSpPr>
        <p:spPr>
          <a:xfrm>
            <a:off x="8676018" y="4206554"/>
            <a:ext cx="2489966" cy="61642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772FD77-73A8-E45F-42E3-1F6D1EA77E63}"/>
              </a:ext>
            </a:extLst>
          </p:cNvPr>
          <p:cNvSpPr/>
          <p:nvPr/>
        </p:nvSpPr>
        <p:spPr>
          <a:xfrm>
            <a:off x="8676018" y="4812388"/>
            <a:ext cx="2489966" cy="59342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F476B3C-A24E-4ABB-AB6E-A675574E2B98}"/>
              </a:ext>
            </a:extLst>
          </p:cNvPr>
          <p:cNvSpPr/>
          <p:nvPr/>
        </p:nvSpPr>
        <p:spPr>
          <a:xfrm>
            <a:off x="8676018" y="3606397"/>
            <a:ext cx="2489966" cy="60557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feld 160">
            <a:extLst>
              <a:ext uri="{FF2B5EF4-FFF2-40B4-BE49-F238E27FC236}">
                <a16:creationId xmlns:a16="http://schemas.microsoft.com/office/drawing/2014/main" id="{C9283B9F-367C-8817-FDB4-56C1B0B611C6}"/>
              </a:ext>
            </a:extLst>
          </p:cNvPr>
          <p:cNvSpPr txBox="1"/>
          <p:nvPr/>
        </p:nvSpPr>
        <p:spPr>
          <a:xfrm>
            <a:off x="789455" y="1572415"/>
            <a:ext cx="665985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arison of cargo flight movements &lt;1,000 km distance as percentage of flights across all distances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hteck 256">
            <a:extLst>
              <a:ext uri="{FF2B5EF4-FFF2-40B4-BE49-F238E27FC236}">
                <a16:creationId xmlns:a16="http://schemas.microsoft.com/office/drawing/2014/main" id="{6EC10BAA-19DE-FB61-25BC-87E57A19FE72}"/>
              </a:ext>
            </a:extLst>
          </p:cNvPr>
          <p:cNvSpPr/>
          <p:nvPr/>
        </p:nvSpPr>
        <p:spPr>
          <a:xfrm>
            <a:off x="969637" y="5652576"/>
            <a:ext cx="6241407" cy="667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5" name="Gruppieren 258">
            <a:extLst>
              <a:ext uri="{FF2B5EF4-FFF2-40B4-BE49-F238E27FC236}">
                <a16:creationId xmlns:a16="http://schemas.microsoft.com/office/drawing/2014/main" id="{1825A014-39F9-A9F1-431F-225BB967736C}"/>
              </a:ext>
            </a:extLst>
          </p:cNvPr>
          <p:cNvGrpSpPr>
            <a:grpSpLocks noChangeAspect="1"/>
          </p:cNvGrpSpPr>
          <p:nvPr/>
        </p:nvGrpSpPr>
        <p:grpSpPr>
          <a:xfrm>
            <a:off x="789455" y="5553449"/>
            <a:ext cx="360363" cy="360363"/>
            <a:chOff x="8192950" y="3801857"/>
            <a:chExt cx="720000" cy="720000"/>
          </a:xfrm>
        </p:grpSpPr>
        <p:sp>
          <p:nvSpPr>
            <p:cNvPr id="16" name="Ellipse 186">
              <a:extLst>
                <a:ext uri="{FF2B5EF4-FFF2-40B4-BE49-F238E27FC236}">
                  <a16:creationId xmlns:a16="http://schemas.microsoft.com/office/drawing/2014/main" id="{0708B7EC-30CA-BA35-4AD7-2124B53C11D8}"/>
                </a:ext>
              </a:extLst>
            </p:cNvPr>
            <p:cNvSpPr/>
            <p:nvPr/>
          </p:nvSpPr>
          <p:spPr>
            <a:xfrm>
              <a:off x="8192950" y="3801857"/>
              <a:ext cx="720000" cy="72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7" name="Group 9">
              <a:extLst>
                <a:ext uri="{FF2B5EF4-FFF2-40B4-BE49-F238E27FC236}">
                  <a16:creationId xmlns:a16="http://schemas.microsoft.com/office/drawing/2014/main" id="{8262105B-1582-E006-E941-7521204CC7D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05302" y="3914209"/>
              <a:ext cx="495297" cy="495297"/>
              <a:chOff x="2864" y="1901"/>
              <a:chExt cx="515" cy="515"/>
            </a:xfrm>
            <a:solidFill>
              <a:schemeClr val="bg1"/>
            </a:solidFill>
          </p:grpSpPr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0D6C45DB-235F-3216-FD33-880E574D9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" y="2077"/>
                <a:ext cx="168" cy="279"/>
              </a:xfrm>
              <a:custGeom>
                <a:avLst/>
                <a:gdLst>
                  <a:gd name="T0" fmla="*/ 62 w 62"/>
                  <a:gd name="T1" fmla="*/ 70 h 103"/>
                  <a:gd name="T2" fmla="*/ 59 w 62"/>
                  <a:gd name="T3" fmla="*/ 73 h 103"/>
                  <a:gd name="T4" fmla="*/ 57 w 62"/>
                  <a:gd name="T5" fmla="*/ 76 h 103"/>
                  <a:gd name="T6" fmla="*/ 45 w 62"/>
                  <a:gd name="T7" fmla="*/ 87 h 103"/>
                  <a:gd name="T8" fmla="*/ 31 w 62"/>
                  <a:gd name="T9" fmla="*/ 96 h 103"/>
                  <a:gd name="T10" fmla="*/ 3 w 62"/>
                  <a:gd name="T11" fmla="*/ 81 h 103"/>
                  <a:gd name="T12" fmla="*/ 20 w 62"/>
                  <a:gd name="T13" fmla="*/ 24 h 103"/>
                  <a:gd name="T14" fmla="*/ 14 w 62"/>
                  <a:gd name="T15" fmla="*/ 19 h 103"/>
                  <a:gd name="T16" fmla="*/ 8 w 62"/>
                  <a:gd name="T17" fmla="*/ 23 h 103"/>
                  <a:gd name="T18" fmla="*/ 2 w 62"/>
                  <a:gd name="T19" fmla="*/ 27 h 103"/>
                  <a:gd name="T20" fmla="*/ 0 w 62"/>
                  <a:gd name="T21" fmla="*/ 23 h 103"/>
                  <a:gd name="T22" fmla="*/ 3 w 62"/>
                  <a:gd name="T23" fmla="*/ 18 h 103"/>
                  <a:gd name="T24" fmla="*/ 25 w 62"/>
                  <a:gd name="T25" fmla="*/ 4 h 103"/>
                  <a:gd name="T26" fmla="*/ 52 w 62"/>
                  <a:gd name="T27" fmla="*/ 29 h 103"/>
                  <a:gd name="T28" fmla="*/ 40 w 62"/>
                  <a:gd name="T29" fmla="*/ 69 h 103"/>
                  <a:gd name="T30" fmla="*/ 46 w 62"/>
                  <a:gd name="T31" fmla="*/ 76 h 103"/>
                  <a:gd name="T32" fmla="*/ 52 w 62"/>
                  <a:gd name="T33" fmla="*/ 71 h 103"/>
                  <a:gd name="T34" fmla="*/ 55 w 62"/>
                  <a:gd name="T35" fmla="*/ 68 h 103"/>
                  <a:gd name="T36" fmla="*/ 57 w 62"/>
                  <a:gd name="T37" fmla="*/ 66 h 103"/>
                  <a:gd name="T38" fmla="*/ 61 w 62"/>
                  <a:gd name="T39" fmla="*/ 67 h 103"/>
                  <a:gd name="T40" fmla="*/ 62 w 62"/>
                  <a:gd name="T41" fmla="*/ 7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2" h="103">
                    <a:moveTo>
                      <a:pt x="62" y="70"/>
                    </a:moveTo>
                    <a:cubicBezTo>
                      <a:pt x="62" y="71"/>
                      <a:pt x="60" y="72"/>
                      <a:pt x="59" y="73"/>
                    </a:cubicBezTo>
                    <a:cubicBezTo>
                      <a:pt x="58" y="74"/>
                      <a:pt x="58" y="75"/>
                      <a:pt x="57" y="76"/>
                    </a:cubicBezTo>
                    <a:cubicBezTo>
                      <a:pt x="53" y="80"/>
                      <a:pt x="49" y="84"/>
                      <a:pt x="45" y="87"/>
                    </a:cubicBezTo>
                    <a:cubicBezTo>
                      <a:pt x="41" y="91"/>
                      <a:pt x="36" y="94"/>
                      <a:pt x="31" y="96"/>
                    </a:cubicBezTo>
                    <a:cubicBezTo>
                      <a:pt x="15" y="103"/>
                      <a:pt x="1" y="97"/>
                      <a:pt x="3" y="81"/>
                    </a:cubicBezTo>
                    <a:cubicBezTo>
                      <a:pt x="5" y="65"/>
                      <a:pt x="19" y="30"/>
                      <a:pt x="20" y="24"/>
                    </a:cubicBezTo>
                    <a:cubicBezTo>
                      <a:pt x="22" y="17"/>
                      <a:pt x="18" y="16"/>
                      <a:pt x="14" y="19"/>
                    </a:cubicBezTo>
                    <a:cubicBezTo>
                      <a:pt x="11" y="20"/>
                      <a:pt x="10" y="22"/>
                      <a:pt x="8" y="23"/>
                    </a:cubicBezTo>
                    <a:cubicBezTo>
                      <a:pt x="6" y="25"/>
                      <a:pt x="5" y="27"/>
                      <a:pt x="2" y="27"/>
                    </a:cubicBezTo>
                    <a:cubicBezTo>
                      <a:pt x="1" y="26"/>
                      <a:pt x="0" y="24"/>
                      <a:pt x="0" y="23"/>
                    </a:cubicBezTo>
                    <a:cubicBezTo>
                      <a:pt x="0" y="21"/>
                      <a:pt x="2" y="20"/>
                      <a:pt x="3" y="18"/>
                    </a:cubicBezTo>
                    <a:cubicBezTo>
                      <a:pt x="9" y="12"/>
                      <a:pt x="16" y="7"/>
                      <a:pt x="25" y="4"/>
                    </a:cubicBezTo>
                    <a:cubicBezTo>
                      <a:pt x="38" y="0"/>
                      <a:pt x="60" y="4"/>
                      <a:pt x="52" y="29"/>
                    </a:cubicBezTo>
                    <a:cubicBezTo>
                      <a:pt x="46" y="47"/>
                      <a:pt x="42" y="60"/>
                      <a:pt x="40" y="69"/>
                    </a:cubicBezTo>
                    <a:cubicBezTo>
                      <a:pt x="37" y="78"/>
                      <a:pt x="41" y="80"/>
                      <a:pt x="46" y="76"/>
                    </a:cubicBezTo>
                    <a:cubicBezTo>
                      <a:pt x="48" y="74"/>
                      <a:pt x="50" y="73"/>
                      <a:pt x="52" y="71"/>
                    </a:cubicBezTo>
                    <a:cubicBezTo>
                      <a:pt x="53" y="70"/>
                      <a:pt x="54" y="69"/>
                      <a:pt x="55" y="68"/>
                    </a:cubicBezTo>
                    <a:cubicBezTo>
                      <a:pt x="55" y="68"/>
                      <a:pt x="56" y="67"/>
                      <a:pt x="57" y="66"/>
                    </a:cubicBezTo>
                    <a:cubicBezTo>
                      <a:pt x="58" y="66"/>
                      <a:pt x="60" y="66"/>
                      <a:pt x="61" y="67"/>
                    </a:cubicBezTo>
                    <a:cubicBezTo>
                      <a:pt x="62" y="68"/>
                      <a:pt x="62" y="69"/>
                      <a:pt x="6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E36E9606-2C1C-ABB7-0DA1-61A5A5363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8" y="1972"/>
                <a:ext cx="100" cy="100"/>
              </a:xfrm>
              <a:custGeom>
                <a:avLst/>
                <a:gdLst>
                  <a:gd name="T0" fmla="*/ 20 w 37"/>
                  <a:gd name="T1" fmla="*/ 37 h 37"/>
                  <a:gd name="T2" fmla="*/ 1 w 37"/>
                  <a:gd name="T3" fmla="*/ 20 h 37"/>
                  <a:gd name="T4" fmla="*/ 18 w 37"/>
                  <a:gd name="T5" fmla="*/ 1 h 37"/>
                  <a:gd name="T6" fmla="*/ 37 w 37"/>
                  <a:gd name="T7" fmla="*/ 18 h 37"/>
                  <a:gd name="T8" fmla="*/ 20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0" y="37"/>
                    </a:moveTo>
                    <a:cubicBezTo>
                      <a:pt x="10" y="37"/>
                      <a:pt x="1" y="30"/>
                      <a:pt x="1" y="20"/>
                    </a:cubicBezTo>
                    <a:cubicBezTo>
                      <a:pt x="0" y="10"/>
                      <a:pt x="8" y="1"/>
                      <a:pt x="18" y="1"/>
                    </a:cubicBezTo>
                    <a:cubicBezTo>
                      <a:pt x="28" y="0"/>
                      <a:pt x="36" y="8"/>
                      <a:pt x="37" y="18"/>
                    </a:cubicBezTo>
                    <a:cubicBezTo>
                      <a:pt x="37" y="28"/>
                      <a:pt x="30" y="36"/>
                      <a:pt x="20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0" name="Freeform 12">
                <a:extLst>
                  <a:ext uri="{FF2B5EF4-FFF2-40B4-BE49-F238E27FC236}">
                    <a16:creationId xmlns:a16="http://schemas.microsoft.com/office/drawing/2014/main" id="{9A2F332D-C650-AE3B-0D0C-CCF14359DB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4" y="1901"/>
                <a:ext cx="515" cy="515"/>
              </a:xfrm>
              <a:custGeom>
                <a:avLst/>
                <a:gdLst>
                  <a:gd name="T0" fmla="*/ 95 w 190"/>
                  <a:gd name="T1" fmla="*/ 0 h 190"/>
                  <a:gd name="T2" fmla="*/ 0 w 190"/>
                  <a:gd name="T3" fmla="*/ 95 h 190"/>
                  <a:gd name="T4" fmla="*/ 95 w 190"/>
                  <a:gd name="T5" fmla="*/ 190 h 190"/>
                  <a:gd name="T6" fmla="*/ 190 w 190"/>
                  <a:gd name="T7" fmla="*/ 95 h 190"/>
                  <a:gd name="T8" fmla="*/ 95 w 190"/>
                  <a:gd name="T9" fmla="*/ 0 h 190"/>
                  <a:gd name="T10" fmla="*/ 95 w 190"/>
                  <a:gd name="T11" fmla="*/ 178 h 190"/>
                  <a:gd name="T12" fmla="*/ 12 w 190"/>
                  <a:gd name="T13" fmla="*/ 95 h 190"/>
                  <a:gd name="T14" fmla="*/ 95 w 190"/>
                  <a:gd name="T15" fmla="*/ 12 h 190"/>
                  <a:gd name="T16" fmla="*/ 178 w 190"/>
                  <a:gd name="T17" fmla="*/ 95 h 190"/>
                  <a:gd name="T18" fmla="*/ 95 w 190"/>
                  <a:gd name="T19" fmla="*/ 178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0" h="190">
                    <a:moveTo>
                      <a:pt x="95" y="0"/>
                    </a:moveTo>
                    <a:cubicBezTo>
                      <a:pt x="42" y="0"/>
                      <a:pt x="0" y="43"/>
                      <a:pt x="0" y="95"/>
                    </a:cubicBezTo>
                    <a:cubicBezTo>
                      <a:pt x="0" y="148"/>
                      <a:pt x="42" y="190"/>
                      <a:pt x="95" y="190"/>
                    </a:cubicBezTo>
                    <a:cubicBezTo>
                      <a:pt x="147" y="190"/>
                      <a:pt x="190" y="148"/>
                      <a:pt x="190" y="95"/>
                    </a:cubicBezTo>
                    <a:cubicBezTo>
                      <a:pt x="190" y="43"/>
                      <a:pt x="147" y="0"/>
                      <a:pt x="95" y="0"/>
                    </a:cubicBezTo>
                    <a:close/>
                    <a:moveTo>
                      <a:pt x="95" y="178"/>
                    </a:moveTo>
                    <a:cubicBezTo>
                      <a:pt x="49" y="178"/>
                      <a:pt x="12" y="141"/>
                      <a:pt x="12" y="95"/>
                    </a:cubicBezTo>
                    <a:cubicBezTo>
                      <a:pt x="12" y="49"/>
                      <a:pt x="49" y="12"/>
                      <a:pt x="95" y="12"/>
                    </a:cubicBezTo>
                    <a:cubicBezTo>
                      <a:pt x="141" y="12"/>
                      <a:pt x="178" y="49"/>
                      <a:pt x="178" y="95"/>
                    </a:cubicBezTo>
                    <a:cubicBezTo>
                      <a:pt x="178" y="141"/>
                      <a:pt x="141" y="178"/>
                      <a:pt x="95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7756FACB-A5FE-12B8-177A-83C7D5352A69}"/>
              </a:ext>
            </a:extLst>
          </p:cNvPr>
          <p:cNvSpPr txBox="1"/>
          <p:nvPr/>
        </p:nvSpPr>
        <p:spPr>
          <a:xfrm>
            <a:off x="974871" y="5828273"/>
            <a:ext cx="6186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 us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36EF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 percentage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estimat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ues for Europe</a:t>
            </a:r>
          </a:p>
        </p:txBody>
      </p:sp>
    </p:spTree>
    <p:extLst>
      <p:ext uri="{BB962C8B-B14F-4D97-AF65-F5344CB8AC3E}">
        <p14:creationId xmlns:p14="http://schemas.microsoft.com/office/powerpoint/2010/main" val="86942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2" grpId="0" animBg="1"/>
      <p:bldP spid="12" grpId="1" animBg="1"/>
      <p:bldP spid="7" grpId="0" animBg="1"/>
      <p:bldP spid="9" grpId="0" animBg="1"/>
      <p:bldP spid="3" grpId="0"/>
      <p:bldP spid="13" grpId="0" animBg="1"/>
      <p:bldP spid="14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1059444" cy="985286"/>
          </a:xfrm>
        </p:spPr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Characteristics of Regional </a:t>
            </a:r>
            <a:r>
              <a:rPr lang="en-US" sz="3200" dirty="0">
                <a:solidFill>
                  <a:srgbClr val="00658B"/>
                </a:solidFill>
              </a:rPr>
              <a:t>A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ir </a:t>
            </a:r>
            <a:r>
              <a:rPr lang="en-US" sz="3200" dirty="0">
                <a:solidFill>
                  <a:srgbClr val="00658B"/>
                </a:solidFill>
              </a:rPr>
              <a:t>C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rgo </a:t>
            </a:r>
            <a:r>
              <a:rPr lang="en-US" sz="3200" dirty="0">
                <a:solidFill>
                  <a:srgbClr val="00658B"/>
                </a:solidFill>
              </a:rPr>
              <a:t>O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perations</a:t>
            </a:r>
            <a:br>
              <a:rPr lang="en-US" sz="2800" dirty="0"/>
            </a:br>
            <a:r>
              <a:rPr lang="en-US" sz="2400" dirty="0"/>
              <a:t>Where are flights occurring?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4" descr="Bar chart showing the percentage of airport pairs in the United States and Europe, grouped by distance group. Percentages are shown on the y-axis and distance groups up to 1,000 km are shown on the x-axis. ">
            <a:extLst>
              <a:ext uri="{FF2B5EF4-FFF2-40B4-BE49-F238E27FC236}">
                <a16:creationId xmlns:a16="http://schemas.microsoft.com/office/drawing/2014/main" id="{F31954A7-196C-5B67-C13B-88D9CB4345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325" y="2413860"/>
            <a:ext cx="5941068" cy="3640083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2738" y="2400414"/>
            <a:ext cx="5400676" cy="3099441"/>
          </a:xfrm>
        </p:spPr>
        <p:txBody>
          <a:bodyPr>
            <a:normAutofit/>
          </a:bodyPr>
          <a:lstStyle/>
          <a:p>
            <a:r>
              <a:rPr lang="en-US" sz="2000" dirty="0"/>
              <a:t>The US has a high percentage of airport pairs within a short distance (&lt;300 km) of each other</a:t>
            </a:r>
          </a:p>
          <a:p>
            <a:r>
              <a:rPr lang="en-US" sz="2000" dirty="0"/>
              <a:t>Airport pairs in Europe tend to be further apart (300-700 km)</a:t>
            </a:r>
          </a:p>
          <a:p>
            <a:r>
              <a:rPr lang="en-US" sz="2000" dirty="0"/>
              <a:t>Suggests that smaller aircraft may be used on shorter routes in the U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185E8B-48A4-C1A8-6A3A-E60501CC8910}"/>
              </a:ext>
            </a:extLst>
          </p:cNvPr>
          <p:cNvSpPr txBox="1">
            <a:spLocks/>
          </p:cNvSpPr>
          <p:nvPr/>
        </p:nvSpPr>
        <p:spPr>
          <a:xfrm>
            <a:off x="695325" y="1627200"/>
            <a:ext cx="4797800" cy="48958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centage of airport pairs with &lt;1,000 kilometers distance: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B811552-DD2C-BE04-3C98-172D54696A66}"/>
              </a:ext>
            </a:extLst>
          </p:cNvPr>
          <p:cNvSpPr txBox="1">
            <a:spLocks/>
          </p:cNvSpPr>
          <p:nvPr/>
        </p:nvSpPr>
        <p:spPr>
          <a:xfrm>
            <a:off x="6919561" y="5198445"/>
            <a:ext cx="4721493" cy="6028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0807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1046731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Characteristics of Regional </a:t>
            </a:r>
            <a:r>
              <a:rPr lang="en-US" sz="3200" dirty="0">
                <a:solidFill>
                  <a:srgbClr val="00658B"/>
                </a:solidFill>
              </a:rPr>
              <a:t>A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ir </a:t>
            </a:r>
            <a:r>
              <a:rPr lang="en-US" sz="3200" dirty="0">
                <a:solidFill>
                  <a:srgbClr val="00658B"/>
                </a:solidFill>
              </a:rPr>
              <a:t>C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rgo </a:t>
            </a:r>
            <a:r>
              <a:rPr lang="en-US" sz="3200" dirty="0">
                <a:solidFill>
                  <a:srgbClr val="00658B"/>
                </a:solidFill>
              </a:rPr>
              <a:t>O</a:t>
            </a:r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perations</a:t>
            </a:r>
            <a:br>
              <a:rPr lang="en-US" sz="2800" dirty="0"/>
            </a:br>
            <a:r>
              <a:rPr lang="en-US" sz="2400" dirty="0"/>
              <a:t>Where are flights occurring?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EF5A1B8-2817-F6A4-5AE5-890C9805A6EE}"/>
              </a:ext>
            </a:extLst>
          </p:cNvPr>
          <p:cNvSpPr txBox="1">
            <a:spLocks/>
          </p:cNvSpPr>
          <p:nvPr/>
        </p:nvSpPr>
        <p:spPr>
          <a:xfrm>
            <a:off x="695324" y="1627200"/>
            <a:ext cx="5483599" cy="48958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centage of cargo flight movements with &lt;1,000 kilometers distance:</a:t>
            </a:r>
          </a:p>
        </p:txBody>
      </p:sp>
      <p:pic>
        <p:nvPicPr>
          <p:cNvPr id="14" name="Picture 8" descr="Bar chart showing the percentage of cargo flight movements in the United States and Europe, grouped by distance group. Percentages are shown on the y-axis and distance groups up to 1,000 km are shown on the x-axis. ">
            <a:extLst>
              <a:ext uri="{FF2B5EF4-FFF2-40B4-BE49-F238E27FC236}">
                <a16:creationId xmlns:a16="http://schemas.microsoft.com/office/drawing/2014/main" id="{1AEBB2BC-081E-7DAB-FD2E-64AF0E0CF7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8945" y="2413860"/>
            <a:ext cx="5941068" cy="3640083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BC2E3F9-FBBA-C1A4-7408-A1FF96435057}"/>
              </a:ext>
            </a:extLst>
          </p:cNvPr>
          <p:cNvSpPr txBox="1">
            <a:spLocks/>
          </p:cNvSpPr>
          <p:nvPr/>
        </p:nvSpPr>
        <p:spPr>
          <a:xfrm>
            <a:off x="6302737" y="1452398"/>
            <a:ext cx="5537397" cy="4383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ropean cargo flight movements tend to be longer in distance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ly 12.8% occur between 0 and 300 km 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9.8% occur between 300 and 700 km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pite fewer flights, cargo tonnage carried in Europe was approximately equal to that of the US (3.9 versus 3.7 millio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nn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wer, larger aircraft are used to transport cargo in Europ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igher numbers of smaller aircraft are used to transport cargo in the US</a:t>
            </a:r>
          </a:p>
        </p:txBody>
      </p:sp>
    </p:spTree>
    <p:extLst>
      <p:ext uri="{BB962C8B-B14F-4D97-AF65-F5344CB8AC3E}">
        <p14:creationId xmlns:p14="http://schemas.microsoft.com/office/powerpoint/2010/main" val="3540461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spcBef>
                <a:spcPts val="1600"/>
              </a:spcBef>
            </a:pPr>
            <a:r>
              <a:rPr lang="en-US" sz="3200" dirty="0">
                <a:solidFill>
                  <a:srgbClr val="00658B"/>
                </a:solidFill>
              </a:rPr>
              <a:t>Assessing the Potential of Cargo UAS</a:t>
            </a:r>
            <a:br>
              <a:rPr lang="en-US" sz="3200" dirty="0">
                <a:solidFill>
                  <a:srgbClr val="00658B"/>
                </a:solidFill>
              </a:rPr>
            </a:br>
            <a:r>
              <a:rPr lang="en-US" sz="2800" dirty="0"/>
              <a:t>Overall</a:t>
            </a:r>
            <a:endParaRPr lang="en-US" sz="2800" dirty="0">
              <a:solidFill>
                <a:srgbClr val="00658B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402230"/>
            <a:ext cx="11297892" cy="4895850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Caveat: Differences in data availability (e.g., domestic flights by distance in Europe)</a:t>
            </a:r>
          </a:p>
          <a:p>
            <a:r>
              <a:rPr lang="en-US" dirty="0"/>
              <a:t>Potential cargo UAS operations are regional flights (&lt;1,000 km) performed by regional aircraft</a:t>
            </a:r>
          </a:p>
          <a:p>
            <a:r>
              <a:rPr lang="en-US" dirty="0"/>
              <a:t>Preference is given to </a:t>
            </a:r>
            <a:r>
              <a:rPr lang="en-US" b="1" dirty="0"/>
              <a:t>domestic</a:t>
            </a:r>
            <a:r>
              <a:rPr lang="en-US" dirty="0"/>
              <a:t> operations for initial cargo UAS operations due to differing laws between countries</a:t>
            </a:r>
          </a:p>
          <a:p>
            <a:r>
              <a:rPr lang="en-US" dirty="0"/>
              <a:t>Will discuss potential over the next few slides, starting with a baseline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176,303 cargo flight movements in the US</a:t>
            </a:r>
          </a:p>
          <a:p>
            <a:pPr lvl="1"/>
            <a:r>
              <a:rPr lang="en-US" dirty="0">
                <a:latin typeface="Arial" pitchFamily="34" charset="0"/>
                <a:cs typeface="Arial" pitchFamily="34" charset="0"/>
              </a:rPr>
              <a:t>&lt;1,000 km and by regional aircraft </a:t>
            </a:r>
          </a:p>
          <a:p>
            <a:pPr lvl="1"/>
            <a:r>
              <a:rPr lang="en-US" dirty="0">
                <a:latin typeface="Arial" pitchFamily="34" charset="0"/>
                <a:cs typeface="Arial" pitchFamily="34" charset="0"/>
              </a:rPr>
              <a:t>This number accounts for 94.8% of total US cargo flight movements by regional aircraft</a:t>
            </a:r>
          </a:p>
          <a:p>
            <a:r>
              <a:rPr lang="en-US" b="1" dirty="0">
                <a:latin typeface="Arial" pitchFamily="34" charset="0"/>
                <a:cs typeface="Arial" pitchFamily="34" charset="0"/>
              </a:rPr>
              <a:t>165,459</a:t>
            </a:r>
            <a:r>
              <a:rPr lang="en-US" dirty="0">
                <a:latin typeface="Arial" pitchFamily="34" charset="0"/>
                <a:cs typeface="Arial" pitchFamily="34" charset="0"/>
              </a:rPr>
              <a:t> of the 176,303 cargo flight movements </a:t>
            </a:r>
            <a:r>
              <a:rPr lang="en-US" dirty="0"/>
              <a:t>were domestic and </a:t>
            </a:r>
            <a:r>
              <a:rPr lang="en-US" b="1" dirty="0"/>
              <a:t>could be converted to UAS</a:t>
            </a:r>
          </a:p>
          <a:p>
            <a:pPr lvl="1"/>
            <a:r>
              <a:rPr lang="en-US" dirty="0"/>
              <a:t>This number accounts for 96.7</a:t>
            </a:r>
            <a:r>
              <a:rPr lang="en-US" dirty="0">
                <a:latin typeface="Arial" pitchFamily="34" charset="0"/>
                <a:cs typeface="Arial" pitchFamily="34" charset="0"/>
              </a:rPr>
              <a:t>% of total domestic </a:t>
            </a:r>
            <a:r>
              <a:rPr lang="en-US" dirty="0"/>
              <a:t>US cargo flight movements by regional aircraft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In Europe, there were </a:t>
            </a:r>
            <a:r>
              <a:rPr lang="en-US" dirty="0"/>
              <a:t>60,422 total cargo flight movements by regional aircraft</a:t>
            </a:r>
          </a:p>
          <a:p>
            <a:pPr lvl="1"/>
            <a:r>
              <a:rPr lang="en-US" b="1" dirty="0"/>
              <a:t>25,299</a:t>
            </a:r>
            <a:r>
              <a:rPr lang="en-US" dirty="0"/>
              <a:t> domestic cargo flight movements in Europe by regional aircraft</a:t>
            </a:r>
            <a:endParaRPr lang="en-US" b="1" dirty="0"/>
          </a:p>
          <a:p>
            <a:pPr lvl="1"/>
            <a:r>
              <a:rPr lang="en-US" sz="2000" dirty="0">
                <a:latin typeface="Arial" pitchFamily="34" charset="0"/>
                <a:cs typeface="Arial" pitchFamily="34" charset="0"/>
              </a:rPr>
              <a:t>Applying US </a:t>
            </a:r>
            <a:r>
              <a:rPr lang="en-US" dirty="0"/>
              <a:t>percentage, we can e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stimate </a:t>
            </a:r>
            <a:r>
              <a:rPr lang="en-US" sz="2000" b="1" dirty="0">
                <a:latin typeface="Arial" pitchFamily="34" charset="0"/>
                <a:cs typeface="Arial" pitchFamily="34" charset="0"/>
              </a:rPr>
              <a:t>57,249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 cargo flight movements &lt;1,000 km by regional aircraft across Euro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207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>
            <a:extLst>
              <a:ext uri="{FF2B5EF4-FFF2-40B4-BE49-F238E27FC236}">
                <a16:creationId xmlns:a16="http://schemas.microsoft.com/office/drawing/2014/main" id="{CAD69233-BA69-6031-15BD-4DDDC40AC8BA}"/>
              </a:ext>
            </a:extLst>
          </p:cNvPr>
          <p:cNvSpPr/>
          <p:nvPr/>
        </p:nvSpPr>
        <p:spPr>
          <a:xfrm>
            <a:off x="692793" y="5546109"/>
            <a:ext cx="7555943" cy="2331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7E7C0C3-9999-2A24-F8D5-EA0648C65AE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6630" r="709"/>
          <a:stretch/>
        </p:blipFill>
        <p:spPr>
          <a:xfrm>
            <a:off x="1298382" y="2784422"/>
            <a:ext cx="6950355" cy="28071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1090274" cy="985286"/>
          </a:xfrm>
        </p:spPr>
        <p:txBody>
          <a:bodyPr vert="horz">
            <a:noAutofit/>
          </a:bodyPr>
          <a:lstStyle/>
          <a:p>
            <a:pPr>
              <a:spcBef>
                <a:spcPts val="1600"/>
              </a:spcBef>
            </a:pPr>
            <a:r>
              <a:rPr lang="en-US" sz="3200" dirty="0">
                <a:solidFill>
                  <a:srgbClr val="00658B"/>
                </a:solidFill>
              </a:rPr>
              <a:t>Accessibility Characteristics of Regional Cargo UAS</a:t>
            </a:r>
            <a:br>
              <a:rPr lang="en-US" sz="3200" dirty="0">
                <a:solidFill>
                  <a:srgbClr val="00658B"/>
                </a:solidFill>
              </a:rPr>
            </a:br>
            <a:r>
              <a:rPr lang="en-US" sz="2400" dirty="0"/>
              <a:t>Europe/US Comparis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09311" y="3429000"/>
            <a:ext cx="3807308" cy="1400756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States/countries with </a:t>
            </a:r>
            <a:r>
              <a:rPr lang="en-US" sz="1800" b="1" dirty="0">
                <a:solidFill>
                  <a:srgbClr val="00658B"/>
                </a:solidFill>
              </a:rPr>
              <a:t>many small commercial airports</a:t>
            </a:r>
            <a:r>
              <a:rPr lang="en-US" sz="1800" b="1" dirty="0"/>
              <a:t> </a:t>
            </a:r>
            <a:r>
              <a:rPr lang="en-US" sz="1800" dirty="0"/>
              <a:t>may be better candidates for initial cargo UAS operations</a:t>
            </a:r>
          </a:p>
          <a:p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4E38B5-F3B5-DFAC-DFD1-8395ECE5F3C3}"/>
              </a:ext>
            </a:extLst>
          </p:cNvPr>
          <p:cNvSpPr txBox="1"/>
          <p:nvPr/>
        </p:nvSpPr>
        <p:spPr>
          <a:xfrm rot="16200000">
            <a:off x="-373594" y="3864852"/>
            <a:ext cx="280719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mber of Commercial Airports</a:t>
            </a:r>
          </a:p>
        </p:txBody>
      </p:sp>
      <p:sp>
        <p:nvSpPr>
          <p:cNvPr id="10" name="TextBox 12">
            <a:extLst>
              <a:ext uri="{FF2B5EF4-FFF2-40B4-BE49-F238E27FC236}">
                <a16:creationId xmlns:a16="http://schemas.microsoft.com/office/drawing/2014/main" id="{911729BD-F032-04D0-94BC-F8F4F69965DF}"/>
              </a:ext>
            </a:extLst>
          </p:cNvPr>
          <p:cNvSpPr txBox="1"/>
          <p:nvPr/>
        </p:nvSpPr>
        <p:spPr>
          <a:xfrm>
            <a:off x="5887485" y="2985968"/>
            <a:ext cx="1380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,408</a:t>
            </a: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179B6C44-8AD9-CBE5-492E-E84308483854}"/>
              </a:ext>
            </a:extLst>
          </p:cNvPr>
          <p:cNvSpPr txBox="1"/>
          <p:nvPr/>
        </p:nvSpPr>
        <p:spPr>
          <a:xfrm>
            <a:off x="2701289" y="3872896"/>
            <a:ext cx="1380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81</a:t>
            </a:r>
          </a:p>
        </p:txBody>
      </p:sp>
      <p:sp>
        <p:nvSpPr>
          <p:cNvPr id="16" name="TextBox 12">
            <a:extLst>
              <a:ext uri="{FF2B5EF4-FFF2-40B4-BE49-F238E27FC236}">
                <a16:creationId xmlns:a16="http://schemas.microsoft.com/office/drawing/2014/main" id="{75DF48AE-7CB5-D4DA-54DA-5C77BBCD8909}"/>
              </a:ext>
            </a:extLst>
          </p:cNvPr>
          <p:cNvSpPr txBox="1"/>
          <p:nvPr/>
        </p:nvSpPr>
        <p:spPr>
          <a:xfrm>
            <a:off x="6232737" y="5069846"/>
            <a:ext cx="7557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50</a:t>
            </a:r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CDFCADE2-1B47-0C3C-EA23-731EB2437A75}"/>
              </a:ext>
            </a:extLst>
          </p:cNvPr>
          <p:cNvSpPr txBox="1"/>
          <p:nvPr/>
        </p:nvSpPr>
        <p:spPr>
          <a:xfrm>
            <a:off x="6232737" y="4763605"/>
            <a:ext cx="7557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</a:t>
            </a:r>
          </a:p>
        </p:txBody>
      </p:sp>
      <p:sp>
        <p:nvSpPr>
          <p:cNvPr id="18" name="TextBox 12">
            <a:extLst>
              <a:ext uri="{FF2B5EF4-FFF2-40B4-BE49-F238E27FC236}">
                <a16:creationId xmlns:a16="http://schemas.microsoft.com/office/drawing/2014/main" id="{429F170B-D7EF-C4BC-27E5-F5EBD0FC3A40}"/>
              </a:ext>
            </a:extLst>
          </p:cNvPr>
          <p:cNvSpPr txBox="1"/>
          <p:nvPr/>
        </p:nvSpPr>
        <p:spPr>
          <a:xfrm>
            <a:off x="6232737" y="3971282"/>
            <a:ext cx="7557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56</a:t>
            </a:r>
          </a:p>
        </p:txBody>
      </p:sp>
      <p:sp>
        <p:nvSpPr>
          <p:cNvPr id="19" name="TextBox 12">
            <a:extLst>
              <a:ext uri="{FF2B5EF4-FFF2-40B4-BE49-F238E27FC236}">
                <a16:creationId xmlns:a16="http://schemas.microsoft.com/office/drawing/2014/main" id="{8A2BD08B-DC63-1269-3E60-86615E2D82A6}"/>
              </a:ext>
            </a:extLst>
          </p:cNvPr>
          <p:cNvSpPr txBox="1"/>
          <p:nvPr/>
        </p:nvSpPr>
        <p:spPr>
          <a:xfrm>
            <a:off x="3013748" y="4976750"/>
            <a:ext cx="7557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60</a:t>
            </a:r>
          </a:p>
        </p:txBody>
      </p:sp>
      <p:sp>
        <p:nvSpPr>
          <p:cNvPr id="20" name="TextBox 12">
            <a:extLst>
              <a:ext uri="{FF2B5EF4-FFF2-40B4-BE49-F238E27FC236}">
                <a16:creationId xmlns:a16="http://schemas.microsoft.com/office/drawing/2014/main" id="{CE380B05-90FD-D202-FEE7-3B8605A88595}"/>
              </a:ext>
            </a:extLst>
          </p:cNvPr>
          <p:cNvSpPr txBox="1"/>
          <p:nvPr/>
        </p:nvSpPr>
        <p:spPr>
          <a:xfrm>
            <a:off x="3013748" y="4644867"/>
            <a:ext cx="7557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1</a:t>
            </a:r>
          </a:p>
        </p:txBody>
      </p:sp>
      <p:sp>
        <p:nvSpPr>
          <p:cNvPr id="21" name="TextBox 12">
            <a:extLst>
              <a:ext uri="{FF2B5EF4-FFF2-40B4-BE49-F238E27FC236}">
                <a16:creationId xmlns:a16="http://schemas.microsoft.com/office/drawing/2014/main" id="{90AEF549-D356-FE34-CFC5-0B02E247D8C6}"/>
              </a:ext>
            </a:extLst>
          </p:cNvPr>
          <p:cNvSpPr txBox="1"/>
          <p:nvPr/>
        </p:nvSpPr>
        <p:spPr>
          <a:xfrm>
            <a:off x="3013748" y="4311261"/>
            <a:ext cx="7557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70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7278FA0-227B-D699-DD46-9B47ECF4CC1A}"/>
              </a:ext>
            </a:extLst>
          </p:cNvPr>
          <p:cNvSpPr txBox="1"/>
          <p:nvPr/>
        </p:nvSpPr>
        <p:spPr>
          <a:xfrm>
            <a:off x="2877702" y="5409954"/>
            <a:ext cx="92845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op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988EFF2-6927-EC95-AA01-348B478545FD}"/>
              </a:ext>
            </a:extLst>
          </p:cNvPr>
          <p:cNvSpPr txBox="1"/>
          <p:nvPr/>
        </p:nvSpPr>
        <p:spPr>
          <a:xfrm>
            <a:off x="6308287" y="5409954"/>
            <a:ext cx="505267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B440E71-55F3-4E14-5FBE-A974F4497BCA}"/>
              </a:ext>
            </a:extLst>
          </p:cNvPr>
          <p:cNvSpPr txBox="1"/>
          <p:nvPr/>
        </p:nvSpPr>
        <p:spPr>
          <a:xfrm>
            <a:off x="4644343" y="4358838"/>
            <a:ext cx="6639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all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88A78D1-AAC2-913D-91BF-A76C7834A131}"/>
              </a:ext>
            </a:extLst>
          </p:cNvPr>
          <p:cNvSpPr txBox="1"/>
          <p:nvPr/>
        </p:nvSpPr>
        <p:spPr>
          <a:xfrm>
            <a:off x="4545758" y="4712635"/>
            <a:ext cx="8611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u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9F80E640-096F-8FC2-93E0-17C0EC140BFD}"/>
              </a:ext>
            </a:extLst>
          </p:cNvPr>
          <p:cNvSpPr txBox="1"/>
          <p:nvPr/>
        </p:nvSpPr>
        <p:spPr>
          <a:xfrm>
            <a:off x="4680410" y="5036686"/>
            <a:ext cx="5918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in</a:t>
            </a:r>
          </a:p>
        </p:txBody>
      </p: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B4C04A44-CA63-5CCA-A655-05FD1B878842}"/>
              </a:ext>
            </a:extLst>
          </p:cNvPr>
          <p:cNvCxnSpPr>
            <a:cxnSpLocks/>
          </p:cNvCxnSpPr>
          <p:nvPr/>
        </p:nvCxnSpPr>
        <p:spPr>
          <a:xfrm>
            <a:off x="4486255" y="4483777"/>
            <a:ext cx="203546" cy="144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92FDC9C9-30AA-19DB-B0B1-BB069267D686}"/>
              </a:ext>
            </a:extLst>
          </p:cNvPr>
          <p:cNvCxnSpPr>
            <a:cxnSpLocks/>
          </p:cNvCxnSpPr>
          <p:nvPr/>
        </p:nvCxnSpPr>
        <p:spPr>
          <a:xfrm>
            <a:off x="4440797" y="4812943"/>
            <a:ext cx="203546" cy="144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FEB98386-76B0-3294-3A0C-5EFB254111EB}"/>
              </a:ext>
            </a:extLst>
          </p:cNvPr>
          <p:cNvCxnSpPr>
            <a:cxnSpLocks/>
          </p:cNvCxnSpPr>
          <p:nvPr/>
        </p:nvCxnSpPr>
        <p:spPr>
          <a:xfrm>
            <a:off x="5305118" y="4894120"/>
            <a:ext cx="203546" cy="144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01D1F51D-4F95-1A9C-B6E7-787F1EEC9F9E}"/>
              </a:ext>
            </a:extLst>
          </p:cNvPr>
          <p:cNvCxnSpPr>
            <a:cxnSpLocks/>
          </p:cNvCxnSpPr>
          <p:nvPr/>
        </p:nvCxnSpPr>
        <p:spPr>
          <a:xfrm>
            <a:off x="5249743" y="4512726"/>
            <a:ext cx="203546" cy="144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B8EB7473-809E-AFB2-53E8-B4BCDB3D29EF}"/>
              </a:ext>
            </a:extLst>
          </p:cNvPr>
          <p:cNvCxnSpPr>
            <a:cxnSpLocks/>
          </p:cNvCxnSpPr>
          <p:nvPr/>
        </p:nvCxnSpPr>
        <p:spPr>
          <a:xfrm>
            <a:off x="4536076" y="5176099"/>
            <a:ext cx="203546" cy="144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0B5AC86F-83A2-B270-0E6D-572CA6D3B8DC}"/>
              </a:ext>
            </a:extLst>
          </p:cNvPr>
          <p:cNvCxnSpPr>
            <a:cxnSpLocks/>
          </p:cNvCxnSpPr>
          <p:nvPr/>
        </p:nvCxnSpPr>
        <p:spPr>
          <a:xfrm>
            <a:off x="5217729" y="5216496"/>
            <a:ext cx="203546" cy="144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DAFBD9C3-110D-8C99-D319-EBB456463A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408465"/>
              </p:ext>
            </p:extLst>
          </p:nvPr>
        </p:nvGraphicFramePr>
        <p:xfrm>
          <a:off x="749607" y="1624056"/>
          <a:ext cx="8205968" cy="854971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615048">
                  <a:extLst>
                    <a:ext uri="{9D8B030D-6E8A-4147-A177-3AD203B41FA5}">
                      <a16:colId xmlns:a16="http://schemas.microsoft.com/office/drawing/2014/main" val="3865713262"/>
                    </a:ext>
                  </a:extLst>
                </a:gridCol>
                <a:gridCol w="3189922">
                  <a:extLst>
                    <a:ext uri="{9D8B030D-6E8A-4147-A177-3AD203B41FA5}">
                      <a16:colId xmlns:a16="http://schemas.microsoft.com/office/drawing/2014/main" val="3042239145"/>
                    </a:ext>
                  </a:extLst>
                </a:gridCol>
                <a:gridCol w="2400998">
                  <a:extLst>
                    <a:ext uri="{9D8B030D-6E8A-4147-A177-3AD203B41FA5}">
                      <a16:colId xmlns:a16="http://schemas.microsoft.com/office/drawing/2014/main" val="3633147583"/>
                    </a:ext>
                  </a:extLst>
                </a:gridCol>
              </a:tblGrid>
              <a:tr h="45764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</a:rPr>
                        <a:t>Main Airport</a:t>
                      </a:r>
                      <a:endParaRPr lang="en-US" sz="2400" b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edium Airport</a:t>
                      </a:r>
                      <a:endParaRPr lang="en-US" sz="1800" b="1" i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Small Airport</a:t>
                      </a: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809256"/>
                  </a:ext>
                </a:extLst>
              </a:tr>
              <a:tr h="39732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ea typeface="MS Mincho" panose="02020609040205080304" pitchFamily="49" charset="-128"/>
                        </a:rPr>
                        <a:t>≥150,000 / year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a typeface="MS Mincho" panose="02020609040205080304" pitchFamily="49" charset="-128"/>
                        </a:rPr>
                        <a:t>&lt;</a:t>
                      </a:r>
                      <a:r>
                        <a:rPr lang="en-US" sz="1800" dirty="0">
                          <a:effectLst/>
                          <a:ea typeface="MS Mincho" panose="02020609040205080304" pitchFamily="49" charset="-128"/>
                        </a:rPr>
                        <a:t>150,000 and ≥15,000 / year 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/>
                        <a:t>&lt;15,000 /year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82191"/>
                  </a:ext>
                </a:extLst>
              </a:tr>
            </a:tbl>
          </a:graphicData>
        </a:graphic>
      </p:graphicFrame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013405-3F7F-FA0F-1964-0F9A8EC69525}"/>
              </a:ext>
            </a:extLst>
          </p:cNvPr>
          <p:cNvSpPr txBox="1">
            <a:spLocks/>
          </p:cNvSpPr>
          <p:nvPr/>
        </p:nvSpPr>
        <p:spPr>
          <a:xfrm>
            <a:off x="8955575" y="1899012"/>
            <a:ext cx="2830025" cy="7033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800" b="1" dirty="0">
                <a:solidFill>
                  <a:srgbClr val="000000"/>
                </a:solidFill>
              </a:rPr>
              <a:t>P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senger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ni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=1 passenger or 100 kg of carg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191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" grpId="0" build="p"/>
      <p:bldP spid="14" grpId="0" animBg="1"/>
      <p:bldP spid="10" grpId="0"/>
      <p:bldP spid="11" grpId="0"/>
      <p:bldP spid="16" grpId="0"/>
      <p:bldP spid="17" grpId="0"/>
      <p:bldP spid="18" grpId="0"/>
      <p:bldP spid="19" grpId="0"/>
      <p:bldP spid="20" grpId="0"/>
      <p:bldP spid="21" grpId="0"/>
      <p:bldP spid="5" grpId="0" animBg="1"/>
      <p:bldP spid="12" grpId="0" animBg="1"/>
      <p:bldP spid="15" grpId="0"/>
      <p:bldP spid="22" grpId="0"/>
      <p:bldP spid="23" grpId="0"/>
      <p:bldP spid="1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Characteristics of Regional Cargo UAS</a:t>
            </a:r>
            <a:br>
              <a:rPr lang="en-US" sz="2400" dirty="0"/>
            </a:br>
            <a:r>
              <a:rPr lang="en-US" sz="2400" dirty="0"/>
              <a:t>Landing Systems / Instrument Approach Proced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5B0B5842-D194-1DBD-0C02-0DB0C08E854A}"/>
              </a:ext>
            </a:extLst>
          </p:cNvPr>
          <p:cNvGraphicFramePr>
            <a:graphicFrameLocks noGrp="1"/>
          </p:cNvGraphicFramePr>
          <p:nvPr/>
        </p:nvGraphicFramePr>
        <p:xfrm>
          <a:off x="1458411" y="2942213"/>
          <a:ext cx="9178110" cy="27128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29602">
                  <a:extLst>
                    <a:ext uri="{9D8B030D-6E8A-4147-A177-3AD203B41FA5}">
                      <a16:colId xmlns:a16="http://schemas.microsoft.com/office/drawing/2014/main" val="3600696770"/>
                    </a:ext>
                  </a:extLst>
                </a:gridCol>
                <a:gridCol w="1788212">
                  <a:extLst>
                    <a:ext uri="{9D8B030D-6E8A-4147-A177-3AD203B41FA5}">
                      <a16:colId xmlns:a16="http://schemas.microsoft.com/office/drawing/2014/main" val="1151512134"/>
                    </a:ext>
                  </a:extLst>
                </a:gridCol>
                <a:gridCol w="1816415">
                  <a:extLst>
                    <a:ext uri="{9D8B030D-6E8A-4147-A177-3AD203B41FA5}">
                      <a16:colId xmlns:a16="http://schemas.microsoft.com/office/drawing/2014/main" val="138398027"/>
                    </a:ext>
                  </a:extLst>
                </a:gridCol>
                <a:gridCol w="1943881">
                  <a:extLst>
                    <a:ext uri="{9D8B030D-6E8A-4147-A177-3AD203B41FA5}">
                      <a16:colId xmlns:a16="http://schemas.microsoft.com/office/drawing/2014/main" val="1809792638"/>
                    </a:ext>
                  </a:extLst>
                </a:gridCol>
              </a:tblGrid>
              <a:tr h="785658">
                <a:tc>
                  <a:txBody>
                    <a:bodyPr/>
                    <a:lstStyle/>
                    <a:p>
                      <a:pPr algn="ctr"/>
                      <a:r>
                        <a:rPr lang="en-US" sz="1800" b="1" noProof="0" dirty="0">
                          <a:solidFill>
                            <a:srgbClr val="00658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UAS IAP availability </a:t>
                      </a:r>
                    </a:p>
                    <a:p>
                      <a:pPr algn="ctr"/>
                      <a:r>
                        <a:rPr lang="en-US" sz="1800" b="0" noProof="0" dirty="0">
                          <a:solidFill>
                            <a:srgbClr val="00658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t potential UAS airports</a:t>
                      </a:r>
                    </a:p>
                  </a:txBody>
                  <a:tcPr marL="68580" marR="68580" marT="0" marB="0" anchor="ctr">
                    <a:solidFill>
                      <a:srgbClr val="E7EB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ermany</a:t>
                      </a:r>
                      <a:endParaRPr lang="en-US" sz="1800" b="1" i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xas</a:t>
                      </a:r>
                      <a:endParaRPr lang="en-US" sz="1800" b="1" i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lifornia</a:t>
                      </a:r>
                      <a:endParaRPr lang="en-US" sz="1800" b="1" i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9566948"/>
                  </a:ext>
                </a:extLst>
              </a:tr>
              <a:tr h="570779">
                <a:tc>
                  <a:txBody>
                    <a:bodyPr/>
                    <a:lstStyle/>
                    <a:p>
                      <a:pPr algn="l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LS CAT III</a:t>
                      </a:r>
                      <a:endParaRPr lang="en-US" sz="1800" b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noProof="0" dirty="0">
                          <a:effectLst/>
                          <a:latin typeface="+mn-lt"/>
                        </a:rPr>
                        <a:t>9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noProof="0" dirty="0">
                          <a:effectLst/>
                          <a:latin typeface="+mn-lt"/>
                        </a:rPr>
                        <a:t>1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noProof="0" dirty="0">
                          <a:effectLst/>
                          <a:latin typeface="+mn-lt"/>
                        </a:rPr>
                        <a:t>1 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08196859"/>
                  </a:ext>
                </a:extLst>
              </a:tr>
              <a:tr h="570779">
                <a:tc>
                  <a:txBody>
                    <a:bodyPr/>
                    <a:lstStyle/>
                    <a:p>
                      <a:pPr algn="l"/>
                      <a:r>
                        <a:rPr lang="en-US" sz="18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LS CAT I/II</a:t>
                      </a:r>
                      <a:endParaRPr lang="en-US" sz="1800" b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noProof="0" dirty="0">
                          <a:effectLst/>
                          <a:latin typeface="+mn-lt"/>
                        </a:rPr>
                        <a:t>1</a:t>
                      </a:r>
                      <a:endParaRPr lang="en-US" sz="1800" noProof="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noProof="0" dirty="0">
                          <a:effectLst/>
                          <a:latin typeface="+mn-lt"/>
                        </a:rPr>
                        <a:t>0</a:t>
                      </a:r>
                      <a:r>
                        <a:rPr lang="en-US" sz="1800" noProof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noProof="0" dirty="0">
                          <a:effectLst/>
                          <a:latin typeface="+mn-lt"/>
                        </a:rPr>
                        <a:t>0</a:t>
                      </a:r>
                      <a:endParaRPr lang="en-US" sz="1800" noProof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3558463"/>
                  </a:ext>
                </a:extLst>
              </a:tr>
              <a:tr h="785658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noProof="0" dirty="0">
                          <a:solidFill>
                            <a:srgbClr val="00658B"/>
                          </a:solidFill>
                          <a:effectLst/>
                          <a:latin typeface="+mn-lt"/>
                          <a:ea typeface="SimSun" panose="02010600030101010101" pitchFamily="2" charset="-122"/>
                        </a:rPr>
                        <a:t>Total potential UAS airports 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>
                          <a:solidFill>
                            <a:srgbClr val="00658B"/>
                          </a:solidFill>
                          <a:effectLst/>
                          <a:latin typeface="+mn-lt"/>
                          <a:ea typeface="SimSun" panose="02010600030101010101" pitchFamily="2" charset="-122"/>
                        </a:rPr>
                        <a:t>with any UAS IAP</a:t>
                      </a:r>
                      <a:endParaRPr lang="en-US" sz="1800" b="0" noProof="0" dirty="0">
                        <a:solidFill>
                          <a:srgbClr val="00658B"/>
                        </a:solidFill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E7EBE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noProof="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9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noProof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noProof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1549734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83C2A6B-9AFE-9B08-F626-077D6D58C364}"/>
              </a:ext>
            </a:extLst>
          </p:cNvPr>
          <p:cNvSpPr txBox="1"/>
          <p:nvPr/>
        </p:nvSpPr>
        <p:spPr>
          <a:xfrm>
            <a:off x="952018" y="1434409"/>
            <a:ext cx="908104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342900">
              <a:buFont typeface="Wingdings" pitchFamily="2" charset="2"/>
              <a:buChar char="§"/>
            </a:pPr>
            <a:r>
              <a:rPr lang="en-US" dirty="0">
                <a:solidFill>
                  <a:srgbClr val="000000"/>
                </a:solidFill>
              </a:rPr>
              <a:t>Definition of  UAS Instrument Approach Procedures (</a:t>
            </a:r>
            <a:r>
              <a:rPr lang="en-US" b="1" dirty="0">
                <a:solidFill>
                  <a:srgbClr val="000000"/>
                </a:solidFill>
              </a:rPr>
              <a:t>UAS IAP</a:t>
            </a:r>
            <a:r>
              <a:rPr lang="en-US" dirty="0">
                <a:solidFill>
                  <a:srgbClr val="000000"/>
                </a:solidFill>
              </a:rPr>
              <a:t>)</a:t>
            </a:r>
          </a:p>
          <a:p>
            <a:pPr marL="1257300" lvl="2" indent="-342900">
              <a:buFont typeface="Wingdings" pitchFamily="2" charset="2"/>
              <a:buChar char="§"/>
            </a:pPr>
            <a:r>
              <a:rPr lang="en-US" dirty="0">
                <a:solidFill>
                  <a:srgbClr val="000000"/>
                </a:solidFill>
              </a:rPr>
              <a:t>ILS CAT III</a:t>
            </a:r>
          </a:p>
          <a:p>
            <a:pPr marL="1257300" lvl="2" indent="-342900">
              <a:buFont typeface="Wingdings" pitchFamily="2" charset="2"/>
              <a:buChar char="§"/>
            </a:pPr>
            <a:r>
              <a:rPr lang="en-US" dirty="0">
                <a:solidFill>
                  <a:srgbClr val="000000"/>
                </a:solidFill>
              </a:rPr>
              <a:t>GLS CAT I/II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b="1" dirty="0">
                <a:solidFill>
                  <a:srgbClr val="000000"/>
                </a:solidFill>
              </a:rPr>
              <a:t>UAS IAP </a:t>
            </a:r>
            <a:r>
              <a:rPr lang="en-US" dirty="0">
                <a:solidFill>
                  <a:srgbClr val="000000"/>
                </a:solidFill>
              </a:rPr>
              <a:t>could include other certified landing systems in the future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7041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927013" cy="985286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ccessibility Potential of Regional Cargo UAS</a:t>
            </a:r>
            <a:br>
              <a:rPr lang="en-US" sz="2400" dirty="0"/>
            </a:br>
            <a:r>
              <a:rPr lang="en-US" sz="2400" dirty="0"/>
              <a:t>Regional Cargo Aircraft Eligible for UAS Opera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E78C5030-791B-0DD8-57AB-0D04DB739E8D}"/>
              </a:ext>
            </a:extLst>
          </p:cNvPr>
          <p:cNvGraphicFramePr>
            <a:graphicFrameLocks noGrp="1"/>
          </p:cNvGraphicFramePr>
          <p:nvPr/>
        </p:nvGraphicFramePr>
        <p:xfrm>
          <a:off x="790334" y="2064463"/>
          <a:ext cx="8834115" cy="39069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92293">
                  <a:extLst>
                    <a:ext uri="{9D8B030D-6E8A-4147-A177-3AD203B41FA5}">
                      <a16:colId xmlns:a16="http://schemas.microsoft.com/office/drawing/2014/main" val="2976413238"/>
                    </a:ext>
                  </a:extLst>
                </a:gridCol>
                <a:gridCol w="2247274">
                  <a:extLst>
                    <a:ext uri="{9D8B030D-6E8A-4147-A177-3AD203B41FA5}">
                      <a16:colId xmlns:a16="http://schemas.microsoft.com/office/drawing/2014/main" val="2063139059"/>
                    </a:ext>
                  </a:extLst>
                </a:gridCol>
                <a:gridCol w="2247274">
                  <a:extLst>
                    <a:ext uri="{9D8B030D-6E8A-4147-A177-3AD203B41FA5}">
                      <a16:colId xmlns:a16="http://schemas.microsoft.com/office/drawing/2014/main" val="353678170"/>
                    </a:ext>
                  </a:extLst>
                </a:gridCol>
                <a:gridCol w="2247274">
                  <a:extLst>
                    <a:ext uri="{9D8B030D-6E8A-4147-A177-3AD203B41FA5}">
                      <a16:colId xmlns:a16="http://schemas.microsoft.com/office/drawing/2014/main" val="603187896"/>
                    </a:ext>
                  </a:extLst>
                </a:gridCol>
              </a:tblGrid>
              <a:tr h="279861">
                <a:tc rowSpan="2">
                  <a:txBody>
                    <a:bodyPr/>
                    <a:lstStyle/>
                    <a:p>
                      <a:pPr algn="ctr" hangingPunct="0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Aircraft types 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 hangingPunct="0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MTOW (OEW)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Count of accessible potential UAS airports 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MTOW (OEW)</a:t>
                      </a:r>
                      <a:endParaRPr lang="de-DE" sz="1400" b="1" i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0133891"/>
                  </a:ext>
                </a:extLst>
              </a:tr>
              <a:tr h="279861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</a:rPr>
                        <a:t>Germany</a:t>
                      </a:r>
                      <a:endParaRPr lang="de-DE" sz="1400" b="1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>
                          <a:solidFill>
                            <a:schemeClr val="bg1"/>
                          </a:solidFill>
                          <a:effectLst/>
                        </a:rPr>
                        <a:t>Texas</a:t>
                      </a:r>
                      <a:endParaRPr lang="de-DE" sz="1400" b="1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California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41021"/>
                  </a:ext>
                </a:extLst>
              </a:tr>
              <a:tr h="41979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ATR 42-600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18.60 t (11.75 t)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u="sng" dirty="0">
                          <a:effectLst/>
                        </a:rPr>
                        <a:t>40 (61) total</a:t>
                      </a:r>
                      <a:endParaRPr lang="de-DE" sz="1400" b="1" dirty="0">
                        <a:effectLst/>
                      </a:endParaRPr>
                    </a:p>
                    <a:p>
                      <a:pPr algn="ctr"/>
                      <a:r>
                        <a:rPr lang="en-US" sz="1400" dirty="0">
                          <a:effectLst/>
                        </a:rPr>
                        <a:t>20 (21) </a:t>
                      </a:r>
                      <a:r>
                        <a:rPr lang="en-US" sz="1400" b="1" dirty="0">
                          <a:effectLst/>
                        </a:rPr>
                        <a:t>towered</a:t>
                      </a:r>
                      <a:endParaRPr lang="de-DE" sz="1400" b="1" dirty="0">
                        <a:effectLst/>
                      </a:endParaRPr>
                    </a:p>
                    <a:p>
                      <a:pPr algn="ctr"/>
                      <a:r>
                        <a:rPr lang="en-US" sz="1400" dirty="0">
                          <a:effectLst/>
                        </a:rPr>
                        <a:t>20 (40) </a:t>
                      </a:r>
                      <a:r>
                        <a:rPr lang="en-US" sz="1400" b="1" dirty="0">
                          <a:effectLst/>
                        </a:rPr>
                        <a:t>non-towered</a:t>
                      </a:r>
                      <a:endParaRPr lang="de-DE" sz="1400" b="1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u="sng" dirty="0">
                          <a:effectLst/>
                        </a:rPr>
                        <a:t>66 (73) total</a:t>
                      </a:r>
                      <a:endParaRPr lang="de-DE" sz="1400" b="1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dirty="0">
                          <a:effectLst/>
                        </a:rPr>
                        <a:t>36 (36) </a:t>
                      </a:r>
                      <a:r>
                        <a:rPr lang="en-US" sz="1400" b="1" dirty="0">
                          <a:effectLst/>
                        </a:rPr>
                        <a:t>towered</a:t>
                      </a:r>
                      <a:endParaRPr lang="de-DE" sz="1400" b="1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dirty="0">
                          <a:effectLst/>
                        </a:rPr>
                        <a:t>30 (37) </a:t>
                      </a:r>
                      <a:r>
                        <a:rPr lang="en-US" sz="1400" b="1" dirty="0">
                          <a:effectLst/>
                        </a:rPr>
                        <a:t>non-towered</a:t>
                      </a:r>
                      <a:endParaRPr lang="de-DE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u="sng" dirty="0">
                          <a:effectLst/>
                        </a:rPr>
                        <a:t>75 (104) total</a:t>
                      </a:r>
                      <a:endParaRPr lang="de-DE" sz="1400" b="1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dirty="0">
                          <a:effectLst/>
                        </a:rPr>
                        <a:t>36 (37) </a:t>
                      </a:r>
                      <a:r>
                        <a:rPr lang="en-US" sz="1400" b="1" dirty="0">
                          <a:effectLst/>
                        </a:rPr>
                        <a:t>towered</a:t>
                      </a:r>
                      <a:endParaRPr lang="de-DE" sz="1400" b="1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dirty="0">
                          <a:effectLst/>
                        </a:rPr>
                        <a:t>39 (67) </a:t>
                      </a:r>
                      <a:r>
                        <a:rPr lang="en-US" sz="1400" b="1" dirty="0">
                          <a:effectLst/>
                        </a:rPr>
                        <a:t>non-towered</a:t>
                      </a:r>
                      <a:endParaRPr lang="de-DE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82193944"/>
                  </a:ext>
                </a:extLst>
              </a:tr>
              <a:tr h="41979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ATR 72-600F</a:t>
                      </a:r>
                    </a:p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23.00 t (11.80 t)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u="sng" dirty="0">
                          <a:solidFill>
                            <a:srgbClr val="00658B"/>
                          </a:solidFill>
                          <a:effectLst/>
                        </a:rPr>
                        <a:t>36</a:t>
                      </a:r>
                      <a:r>
                        <a:rPr lang="en-US" sz="1400" b="1" u="sng" dirty="0">
                          <a:effectLst/>
                        </a:rPr>
                        <a:t> (61) </a:t>
                      </a:r>
                      <a:endParaRPr lang="de-DE" sz="1400" b="1" dirty="0">
                        <a:effectLst/>
                      </a:endParaRPr>
                    </a:p>
                    <a:p>
                      <a:pPr algn="ctr"/>
                      <a:r>
                        <a:rPr lang="en-US" sz="1400" dirty="0">
                          <a:effectLst/>
                        </a:rPr>
                        <a:t>20 (21) </a:t>
                      </a:r>
                      <a:endParaRPr lang="de-DE" sz="1400" dirty="0">
                        <a:effectLst/>
                      </a:endParaRPr>
                    </a:p>
                    <a:p>
                      <a:pPr algn="ctr"/>
                      <a:r>
                        <a:rPr lang="en-US" sz="1400" dirty="0">
                          <a:effectLst/>
                        </a:rPr>
                        <a:t>16 (40) 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u="sng" dirty="0">
                          <a:solidFill>
                            <a:srgbClr val="00658B"/>
                          </a:solidFill>
                          <a:effectLst/>
                        </a:rPr>
                        <a:t>56</a:t>
                      </a:r>
                      <a:r>
                        <a:rPr lang="en-US" sz="1400" b="1" u="sng" dirty="0">
                          <a:effectLst/>
                        </a:rPr>
                        <a:t> (73) </a:t>
                      </a:r>
                      <a:endParaRPr lang="de-DE" sz="1400" b="1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dirty="0">
                          <a:effectLst/>
                        </a:rPr>
                        <a:t>35 (36) </a:t>
                      </a:r>
                      <a:endParaRPr lang="de-DE" sz="1400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dirty="0">
                          <a:effectLst/>
                        </a:rPr>
                        <a:t>21 (37) 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u="sng" dirty="0">
                          <a:solidFill>
                            <a:srgbClr val="00658B"/>
                          </a:solidFill>
                          <a:effectLst/>
                        </a:rPr>
                        <a:t>67</a:t>
                      </a:r>
                      <a:r>
                        <a:rPr lang="en-US" sz="1400" b="1" u="sng" dirty="0">
                          <a:effectLst/>
                        </a:rPr>
                        <a:t> (100) </a:t>
                      </a:r>
                      <a:endParaRPr lang="de-DE" sz="1400" b="1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dirty="0">
                          <a:effectLst/>
                        </a:rPr>
                        <a:t>35 (36) </a:t>
                      </a:r>
                      <a:endParaRPr lang="de-DE" sz="1400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dirty="0">
                          <a:effectLst/>
                        </a:rPr>
                        <a:t>32 (64) 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91018280"/>
                  </a:ext>
                </a:extLst>
              </a:tr>
              <a:tr h="419792">
                <a:tc>
                  <a:txBody>
                    <a:bodyPr/>
                    <a:lstStyle/>
                    <a:p>
                      <a:pPr algn="l"/>
                      <a:r>
                        <a:rPr lang="en-US" sz="1400" b="1" strike="sngStrike" dirty="0">
                          <a:solidFill>
                            <a:schemeClr val="bg1"/>
                          </a:solidFill>
                          <a:effectLst/>
                        </a:rPr>
                        <a:t>Bombardier CL-600</a:t>
                      </a:r>
                      <a:endParaRPr lang="de-DE" sz="1400" b="1" strike="sngStrike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/>
                      <a:r>
                        <a:rPr lang="en-US" sz="1400" b="1" strike="sngStrike" dirty="0">
                          <a:solidFill>
                            <a:schemeClr val="bg1"/>
                          </a:solidFill>
                          <a:effectLst/>
                        </a:rPr>
                        <a:t>21.86 t (12.32 t)</a:t>
                      </a:r>
                      <a:endParaRPr lang="de-DE" sz="1400" b="1" strike="sng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u="sng" strike="sngStrike" dirty="0">
                          <a:solidFill>
                            <a:srgbClr val="00658B"/>
                          </a:solidFill>
                          <a:effectLst/>
                        </a:rPr>
                        <a:t>36</a:t>
                      </a:r>
                      <a:r>
                        <a:rPr lang="en-US" sz="1400" b="1" u="sng" strike="sngStrike" dirty="0">
                          <a:effectLst/>
                        </a:rPr>
                        <a:t> (59) </a:t>
                      </a:r>
                      <a:endParaRPr lang="de-DE" sz="1400" b="1" strike="sngStrike" dirty="0">
                        <a:effectLst/>
                      </a:endParaRPr>
                    </a:p>
                    <a:p>
                      <a:pPr algn="ctr"/>
                      <a:r>
                        <a:rPr lang="en-US" sz="1400" strike="sngStrike" dirty="0">
                          <a:effectLst/>
                        </a:rPr>
                        <a:t>20 (21) </a:t>
                      </a:r>
                      <a:endParaRPr lang="de-DE" sz="1400" strike="sngStrike" dirty="0">
                        <a:effectLst/>
                      </a:endParaRPr>
                    </a:p>
                    <a:p>
                      <a:pPr algn="ctr"/>
                      <a:r>
                        <a:rPr lang="en-US" sz="1400" strike="sngStrike" dirty="0">
                          <a:effectLst/>
                        </a:rPr>
                        <a:t>16 (38)</a:t>
                      </a:r>
                      <a:endParaRPr lang="de-DE" sz="1400" strike="sngStrike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u="sng" strike="sngStrike" dirty="0">
                          <a:effectLst/>
                        </a:rPr>
                        <a:t>62 (73) </a:t>
                      </a:r>
                      <a:endParaRPr lang="de-DE" sz="1400" b="1" strike="sngStrike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strike="sngStrike" dirty="0">
                          <a:effectLst/>
                        </a:rPr>
                        <a:t>36 (36) </a:t>
                      </a:r>
                      <a:endParaRPr lang="de-DE" sz="1400" strike="sngStrike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strike="sngStrike" dirty="0">
                          <a:effectLst/>
                        </a:rPr>
                        <a:t>37 (37) </a:t>
                      </a:r>
                      <a:endParaRPr lang="de-DE" sz="1400" strike="sngStrike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u="sng" strike="sngStrike" dirty="0">
                          <a:effectLst/>
                        </a:rPr>
                        <a:t>72 (100) </a:t>
                      </a:r>
                      <a:endParaRPr lang="de-DE" sz="1400" b="1" strike="sngStrike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strike="sngStrike" dirty="0">
                          <a:effectLst/>
                        </a:rPr>
                        <a:t>36 (36) </a:t>
                      </a:r>
                      <a:endParaRPr lang="de-DE" sz="1400" strike="sngStrike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strike="sngStrike" dirty="0">
                          <a:effectLst/>
                        </a:rPr>
                        <a:t>36 (64) </a:t>
                      </a:r>
                      <a:endParaRPr lang="de-DE" sz="1400" strike="sngStrike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45865991"/>
                  </a:ext>
                </a:extLst>
              </a:tr>
              <a:tr h="419792">
                <a:tc>
                  <a:txBody>
                    <a:bodyPr/>
                    <a:lstStyle/>
                    <a:p>
                      <a:pPr algn="l"/>
                      <a:r>
                        <a:rPr lang="en-US" sz="1400" b="1" strike="sngStrike" dirty="0">
                          <a:solidFill>
                            <a:schemeClr val="bg1"/>
                          </a:solidFill>
                          <a:effectLst/>
                        </a:rPr>
                        <a:t>Embraer EMB 120</a:t>
                      </a:r>
                      <a:endParaRPr lang="de-DE" sz="1400" b="1" strike="sngStrike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l"/>
                      <a:r>
                        <a:rPr lang="en-US" sz="1400" b="1" strike="sngStrike" dirty="0">
                          <a:solidFill>
                            <a:schemeClr val="bg1"/>
                          </a:solidFill>
                          <a:effectLst/>
                        </a:rPr>
                        <a:t>11.50 t (7.07 t)</a:t>
                      </a:r>
                      <a:endParaRPr lang="de-DE" sz="1400" b="1" strike="sng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u="sng" strike="sngStrike" dirty="0">
                          <a:effectLst/>
                        </a:rPr>
                        <a:t>61 (76) </a:t>
                      </a:r>
                      <a:endParaRPr lang="de-DE" sz="1400" b="1" strike="sngStrike" dirty="0">
                        <a:effectLst/>
                      </a:endParaRPr>
                    </a:p>
                    <a:p>
                      <a:pPr algn="ctr"/>
                      <a:r>
                        <a:rPr lang="en-US" sz="1400" strike="sngStrike" dirty="0">
                          <a:effectLst/>
                        </a:rPr>
                        <a:t>21 (22) </a:t>
                      </a:r>
                      <a:endParaRPr lang="de-DE" sz="1400" strike="sngStrike" dirty="0">
                        <a:effectLst/>
                      </a:endParaRPr>
                    </a:p>
                    <a:p>
                      <a:pPr algn="ctr"/>
                      <a:r>
                        <a:rPr lang="en-US" sz="1400" strike="sngStrike" dirty="0">
                          <a:effectLst/>
                        </a:rPr>
                        <a:t>40 (54) </a:t>
                      </a:r>
                      <a:endParaRPr lang="de-DE" sz="1400" strike="sngStrike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u="sng" strike="sngStrike" dirty="0">
                          <a:effectLst/>
                        </a:rPr>
                        <a:t>73 (74) </a:t>
                      </a:r>
                      <a:endParaRPr lang="de-DE" sz="1400" b="1" strike="sngStrike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strike="sngStrike" dirty="0">
                          <a:effectLst/>
                        </a:rPr>
                        <a:t>36 (36) </a:t>
                      </a:r>
                      <a:endParaRPr lang="de-DE" sz="1400" strike="sngStrike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strike="sngStrike" dirty="0">
                          <a:effectLst/>
                        </a:rPr>
                        <a:t>37 (38) </a:t>
                      </a:r>
                      <a:endParaRPr lang="de-DE" sz="1400" strike="sngStrike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u="sng" strike="sngStrike" dirty="0">
                          <a:effectLst/>
                        </a:rPr>
                        <a:t>77 (118) </a:t>
                      </a:r>
                      <a:endParaRPr lang="de-DE" sz="1400" b="1" strike="sngStrike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strike="sngStrike" dirty="0">
                          <a:effectLst/>
                        </a:rPr>
                        <a:t>36 (38) </a:t>
                      </a:r>
                      <a:endParaRPr lang="de-DE" sz="1400" strike="sngStrike" dirty="0">
                        <a:effectLst/>
                      </a:endParaRPr>
                    </a:p>
                    <a:p>
                      <a:pPr algn="ctr" hangingPunct="0"/>
                      <a:r>
                        <a:rPr lang="en-US" sz="1400" strike="sngStrike" dirty="0">
                          <a:effectLst/>
                        </a:rPr>
                        <a:t>41 (80) </a:t>
                      </a:r>
                      <a:endParaRPr lang="de-DE" sz="1400" strike="sngStrike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37932251"/>
                  </a:ext>
                </a:extLst>
              </a:tr>
              <a:tr h="41979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</a:rPr>
                        <a:t>Cessna 208 Caravan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</a:rPr>
                        <a:t>3.63 t (2.21 t)</a:t>
                      </a:r>
                      <a:endParaRPr lang="de-DE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solidFill>
                      <a:srgbClr val="0065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u="sng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</a:rPr>
                        <a:t>148 (</a:t>
                      </a:r>
                      <a:r>
                        <a:rPr lang="en-US" sz="1400" b="1" u="sng" dirty="0">
                          <a:solidFill>
                            <a:srgbClr val="00658B"/>
                          </a:solidFill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</a:rPr>
                        <a:t>158</a:t>
                      </a:r>
                      <a:r>
                        <a:rPr lang="en-US" sz="1400" b="1" u="sng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</a:rPr>
                        <a:t>) </a:t>
                      </a:r>
                      <a:endParaRPr lang="de-DE" sz="1400" b="1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  <a:p>
                      <a:pPr algn="ctr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</a:rPr>
                        <a:t>22 (22) 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  <a:p>
                      <a:pPr algn="ctr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</a:rPr>
                        <a:t>126 (136) 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u="sng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67 (</a:t>
                      </a:r>
                      <a:r>
                        <a:rPr lang="en-US" sz="1400" b="1" u="sng" dirty="0">
                          <a:solidFill>
                            <a:srgbClr val="00658B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79</a:t>
                      </a:r>
                      <a:r>
                        <a:rPr lang="en-US" sz="1400" b="1" u="sng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) </a:t>
                      </a:r>
                      <a:endParaRPr lang="de-DE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 hangingPunct="0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37 (38) 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 hangingPunct="0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30 (241) 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0"/>
                      <a:r>
                        <a:rPr lang="en-US" sz="1400" b="1" u="sng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92 (</a:t>
                      </a:r>
                      <a:r>
                        <a:rPr lang="en-US" sz="1400" b="1" u="sng" dirty="0">
                          <a:solidFill>
                            <a:srgbClr val="00658B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200</a:t>
                      </a:r>
                      <a:r>
                        <a:rPr lang="en-US" sz="1400" b="1" u="sng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) </a:t>
                      </a:r>
                      <a:endParaRPr lang="de-DE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 hangingPunct="0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44 (44) 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 hangingPunct="0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48 (156) </a:t>
                      </a:r>
                      <a:endParaRPr lang="de-DE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47228931"/>
                  </a:ext>
                </a:extLst>
              </a:tr>
            </a:tbl>
          </a:graphicData>
        </a:graphic>
      </p:graphicFrame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EEA5B6-4D63-8355-81C3-7E90EA3BAA5A}"/>
              </a:ext>
            </a:extLst>
          </p:cNvPr>
          <p:cNvSpPr txBox="1">
            <a:spLocks/>
          </p:cNvSpPr>
          <p:nvPr/>
        </p:nvSpPr>
        <p:spPr>
          <a:xfrm>
            <a:off x="695324" y="1318661"/>
            <a:ext cx="11176377" cy="985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800" b="1" dirty="0">
                <a:solidFill>
                  <a:srgbClr val="000000"/>
                </a:solidFill>
                <a:latin typeface="+mn-lt"/>
              </a:rPr>
              <a:t>Maximum Takeoff Weight </a:t>
            </a:r>
            <a:r>
              <a:rPr lang="en-US" sz="1800" dirty="0">
                <a:solidFill>
                  <a:srgbClr val="000000"/>
                </a:solidFill>
                <a:latin typeface="+mn-lt"/>
              </a:rPr>
              <a:t>(MTOW) is the maximum weight the pilot is allowed to attempt to takeoff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en-US" sz="1800" b="1" dirty="0">
                <a:solidFill>
                  <a:srgbClr val="000000"/>
                </a:solidFill>
                <a:latin typeface="+mn-lt"/>
              </a:rPr>
              <a:t>Operational Empty Weight </a:t>
            </a:r>
            <a:r>
              <a:rPr lang="en-US" sz="1800" dirty="0">
                <a:solidFill>
                  <a:srgbClr val="000000"/>
                </a:solidFill>
                <a:latin typeface="+mn-lt"/>
              </a:rPr>
              <a:t>(</a:t>
            </a:r>
            <a:r>
              <a:rPr lang="en-US" sz="1800" dirty="0">
                <a:solidFill>
                  <a:srgbClr val="000000"/>
                </a:solidFill>
              </a:rPr>
              <a:t>OEW</a:t>
            </a:r>
            <a:r>
              <a:rPr lang="en-US" sz="1800" dirty="0">
                <a:solidFill>
                  <a:srgbClr val="000000"/>
                </a:solidFill>
                <a:latin typeface="+mn-lt"/>
              </a:rPr>
              <a:t>) includes the empty weight of an aircraft plus operational items</a:t>
            </a:r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05088120-AF7E-5C0F-464E-FDCBB3CC97D9}"/>
              </a:ext>
            </a:extLst>
          </p:cNvPr>
          <p:cNvSpPr/>
          <p:nvPr/>
        </p:nvSpPr>
        <p:spPr>
          <a:xfrm rot="5400000">
            <a:off x="3677878" y="1986965"/>
            <a:ext cx="625871" cy="2216258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E7B300C0-B673-9104-DA50-F9BD356CD60B}"/>
              </a:ext>
            </a:extLst>
          </p:cNvPr>
          <p:cNvSpPr/>
          <p:nvPr/>
        </p:nvSpPr>
        <p:spPr>
          <a:xfrm rot="5400000">
            <a:off x="5936756" y="1986968"/>
            <a:ext cx="625871" cy="2216258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376ECB6D-A2F9-424A-73F0-F915234ACAAB}"/>
              </a:ext>
            </a:extLst>
          </p:cNvPr>
          <p:cNvSpPr/>
          <p:nvPr/>
        </p:nvSpPr>
        <p:spPr>
          <a:xfrm rot="5400000">
            <a:off x="8195634" y="1986966"/>
            <a:ext cx="625873" cy="2216258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9820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4" grpId="0" animBg="1"/>
      <p:bldP spid="14" grpId="1" animBg="1"/>
      <p:bldP spid="15" grpId="0" animBg="1"/>
    </p:bldLst>
  </p:timing>
  <p:extLst>
    <p:ext uri="{6950BFC3-D8DA-4A85-94F7-54DA5524770B}">
      <p188:commentRel xmlns:p188="http://schemas.microsoft.com/office/powerpoint/2018/8/main" r:id="rId4"/>
    </p:ext>
  </p:extLs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D113EA-9FCF-0522-73EB-A846F99B9537}"/>
              </a:ext>
            </a:extLst>
          </p:cNvPr>
          <p:cNvSpPr txBox="1">
            <a:spLocks/>
          </p:cNvSpPr>
          <p:nvPr/>
        </p:nvSpPr>
        <p:spPr>
          <a:xfrm>
            <a:off x="695324" y="1318661"/>
            <a:ext cx="11083019" cy="41241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2000" b="1" dirty="0">
                <a:solidFill>
                  <a:srgbClr val="00658B"/>
                </a:solidFill>
              </a:rPr>
              <a:t>Established a baseline of potential UAS airports suitable for initial cargo UAS operations</a:t>
            </a:r>
          </a:p>
          <a:p>
            <a:pPr lvl="1"/>
            <a:r>
              <a:rPr lang="en-US" b="1" dirty="0">
                <a:solidFill>
                  <a:srgbClr val="000000"/>
                </a:solidFill>
              </a:rPr>
              <a:t>Potential UAS Airport</a:t>
            </a:r>
          </a:p>
          <a:p>
            <a:pPr lvl="2"/>
            <a:r>
              <a:rPr lang="en-US" sz="2000" dirty="0">
                <a:solidFill>
                  <a:srgbClr val="000000"/>
                </a:solidFill>
              </a:rPr>
              <a:t>Public</a:t>
            </a:r>
            <a:r>
              <a:rPr lang="en-US" sz="2000" b="1" dirty="0">
                <a:solidFill>
                  <a:srgbClr val="000000"/>
                </a:solidFill>
              </a:rPr>
              <a:t> towered </a:t>
            </a:r>
            <a:r>
              <a:rPr lang="en-US" sz="2000" dirty="0">
                <a:solidFill>
                  <a:srgbClr val="000000"/>
                </a:solidFill>
              </a:rPr>
              <a:t>airports</a:t>
            </a:r>
            <a:r>
              <a:rPr lang="en-US" sz="2000" b="1" dirty="0">
                <a:solidFill>
                  <a:srgbClr val="000000"/>
                </a:solidFill>
              </a:rPr>
              <a:t> </a:t>
            </a:r>
            <a:r>
              <a:rPr lang="en-US" sz="2000" dirty="0">
                <a:solidFill>
                  <a:srgbClr val="000000"/>
                </a:solidFill>
              </a:rPr>
              <a:t>with annual </a:t>
            </a:r>
            <a:r>
              <a:rPr lang="en-US" sz="2000" b="1" dirty="0">
                <a:solidFill>
                  <a:srgbClr val="000000"/>
                </a:solidFill>
              </a:rPr>
              <a:t>IFR</a:t>
            </a:r>
            <a:r>
              <a:rPr lang="en-US" sz="2000" dirty="0">
                <a:solidFill>
                  <a:srgbClr val="000000"/>
                </a:solidFill>
              </a:rPr>
              <a:t> flight movement percentages </a:t>
            </a:r>
            <a:r>
              <a:rPr lang="en-US" sz="2000" b="1" dirty="0">
                <a:solidFill>
                  <a:srgbClr val="000000"/>
                </a:solidFill>
              </a:rPr>
              <a:t>under 2.2%</a:t>
            </a:r>
          </a:p>
          <a:p>
            <a:pPr lvl="2"/>
            <a:r>
              <a:rPr lang="en-US" sz="2000" dirty="0">
                <a:solidFill>
                  <a:srgbClr val="000000"/>
                </a:solidFill>
              </a:rPr>
              <a:t>Public</a:t>
            </a:r>
            <a:r>
              <a:rPr lang="en-US" sz="2000" b="1" dirty="0">
                <a:solidFill>
                  <a:srgbClr val="000000"/>
                </a:solidFill>
              </a:rPr>
              <a:t> non-towered </a:t>
            </a:r>
            <a:r>
              <a:rPr lang="en-US" sz="2000" dirty="0">
                <a:solidFill>
                  <a:srgbClr val="000000"/>
                </a:solidFill>
              </a:rPr>
              <a:t>airports</a:t>
            </a:r>
          </a:p>
          <a:p>
            <a:pPr lvl="1"/>
            <a:r>
              <a:rPr lang="en-US" b="1" dirty="0">
                <a:solidFill>
                  <a:srgbClr val="000000"/>
                </a:solidFill>
              </a:rPr>
              <a:t>780 total potential UAS airports: </a:t>
            </a:r>
            <a:r>
              <a:rPr lang="en-US" dirty="0">
                <a:solidFill>
                  <a:srgbClr val="000000"/>
                </a:solidFill>
              </a:rPr>
              <a:t>173 in Germany, 376 in Texas, and 231 in California</a:t>
            </a:r>
            <a:endParaRPr lang="en-US" b="1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2000" b="1" dirty="0">
                <a:solidFill>
                  <a:srgbClr val="00658B"/>
                </a:solidFill>
              </a:rPr>
              <a:t>Investigated IAP that are most likely to be used for initial cargo UAS operations </a:t>
            </a:r>
          </a:p>
          <a:p>
            <a:pPr lvl="1"/>
            <a:r>
              <a:rPr lang="en-US" b="1" dirty="0">
                <a:solidFill>
                  <a:srgbClr val="000000"/>
                </a:solidFill>
              </a:rPr>
              <a:t>UAS Instrument Approach Procedures (UAS IAP)</a:t>
            </a:r>
          </a:p>
          <a:p>
            <a:pPr lvl="2"/>
            <a:r>
              <a:rPr lang="en-US" sz="2000" dirty="0">
                <a:solidFill>
                  <a:srgbClr val="000000"/>
                </a:solidFill>
              </a:rPr>
              <a:t>ILS CAT III</a:t>
            </a:r>
          </a:p>
          <a:p>
            <a:pPr lvl="2"/>
            <a:r>
              <a:rPr lang="en-US" sz="2000" dirty="0">
                <a:solidFill>
                  <a:srgbClr val="000000"/>
                </a:solidFill>
              </a:rPr>
              <a:t>GLS CAT I/II</a:t>
            </a:r>
          </a:p>
          <a:p>
            <a:pPr lvl="1"/>
            <a:r>
              <a:rPr lang="en-US" b="1" dirty="0">
                <a:solidFill>
                  <a:srgbClr val="000000"/>
                </a:solidFill>
              </a:rPr>
              <a:t>11 total airports with UAS IAP</a:t>
            </a:r>
            <a:r>
              <a:rPr lang="en-US" dirty="0">
                <a:solidFill>
                  <a:srgbClr val="000000"/>
                </a:solidFill>
              </a:rPr>
              <a:t>: 9 in Germany, 1 in Texas, and 1 in California</a:t>
            </a:r>
          </a:p>
          <a:p>
            <a:pPr marL="0" indent="0">
              <a:buNone/>
            </a:pPr>
            <a:r>
              <a:rPr lang="en-US" sz="2000" b="1" dirty="0">
                <a:solidFill>
                  <a:srgbClr val="00658B"/>
                </a:solidFill>
              </a:rPr>
              <a:t>Determined bounds of how many potential UAS airports could service common regional cargo aircraft</a:t>
            </a:r>
          </a:p>
          <a:p>
            <a:pPr lvl="1"/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183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4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Introduction and Background</a:t>
            </a:r>
            <a:br>
              <a:rPr lang="en-US" sz="3200" dirty="0"/>
            </a:br>
            <a:r>
              <a:rPr lang="en-US" sz="2400" dirty="0"/>
              <a:t>Air Cargo Introduction</a:t>
            </a: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ir cargo is crucial part of modern infrastructure</a:t>
            </a:r>
          </a:p>
          <a:p>
            <a:r>
              <a:rPr lang="en-US" b="1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Regional air cargo is lesser known</a:t>
            </a:r>
            <a:r>
              <a:rPr lang="en-US" dirty="0"/>
              <a:t>, yet is a </a:t>
            </a:r>
            <a:r>
              <a:rPr lang="en-US" b="1" dirty="0">
                <a:solidFill>
                  <a:srgbClr val="00658B"/>
                </a:solidFill>
              </a:rPr>
              <a:t>critical part </a:t>
            </a:r>
            <a:r>
              <a:rPr lang="en-US" dirty="0"/>
              <a:t>of the overall air cargo network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Typical </a:t>
            </a:r>
            <a:r>
              <a:rPr lang="en-US" b="1" dirty="0">
                <a:solidFill>
                  <a:srgbClr val="00658B"/>
                </a:solidFill>
              </a:rPr>
              <a:t>regional air cargo routes are &lt;1,000 km </a:t>
            </a:r>
            <a:r>
              <a:rPr lang="en-US" dirty="0"/>
              <a:t>(540 nmi) in length </a:t>
            </a:r>
          </a:p>
          <a:p>
            <a:r>
              <a:rPr lang="en-US" dirty="0"/>
              <a:t>Typical</a:t>
            </a:r>
            <a:r>
              <a:rPr lang="en-US" b="1" dirty="0">
                <a:solidFill>
                  <a:srgbClr val="00658B"/>
                </a:solidFill>
              </a:rPr>
              <a:t> regional cargo aircraft for cargo-only flights </a:t>
            </a:r>
            <a:r>
              <a:rPr lang="en-US" dirty="0"/>
              <a:t>are:</a:t>
            </a:r>
          </a:p>
          <a:p>
            <a:pPr lvl="1"/>
            <a:r>
              <a:rPr lang="en-US" dirty="0"/>
              <a:t>Cargo-only includes freight and mail, excludes passengers</a:t>
            </a:r>
          </a:p>
          <a:p>
            <a:pPr lvl="1"/>
            <a:r>
              <a:rPr lang="en-US" dirty="0"/>
              <a:t>Common cargo includes low weight, high value (e.g., medicine)</a:t>
            </a:r>
          </a:p>
          <a:p>
            <a:pPr lvl="1"/>
            <a:r>
              <a:rPr lang="en-US" dirty="0"/>
              <a:t>Turboprop (e.g., Cessna 208, ATR-42), piston, and jet aircraft</a:t>
            </a:r>
          </a:p>
          <a:p>
            <a:pPr lvl="1"/>
            <a:r>
              <a:rPr lang="en-US" dirty="0"/>
              <a:t>Carry payload &lt;9 </a:t>
            </a:r>
            <a:r>
              <a:rPr lang="en-US" dirty="0" err="1"/>
              <a:t>tonnes</a:t>
            </a:r>
            <a:r>
              <a:rPr lang="en-US" dirty="0"/>
              <a:t> (&lt;10 US tons)</a:t>
            </a:r>
          </a:p>
          <a:p>
            <a:pPr lvl="1"/>
            <a:r>
              <a:rPr lang="en-US" dirty="0"/>
              <a:t>Have a maximum take-off weight (MTOW) of less than 25 </a:t>
            </a:r>
            <a:r>
              <a:rPr lang="en-US" dirty="0" err="1"/>
              <a:t>tonnes</a:t>
            </a:r>
            <a:r>
              <a:rPr lang="en-US" dirty="0"/>
              <a:t> (&lt;28 US tons)</a:t>
            </a:r>
          </a:p>
          <a:p>
            <a:endParaRPr lang="en-US" dirty="0">
              <a:highlight>
                <a:srgbClr val="FFFF00"/>
              </a:highlight>
            </a:endParaRPr>
          </a:p>
          <a:p>
            <a:endParaRPr lang="en-US" sz="28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005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3908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val 10">
            <a:extLst>
              <a:ext uri="{FF2B5EF4-FFF2-40B4-BE49-F238E27FC236}">
                <a16:creationId xmlns:a16="http://schemas.microsoft.com/office/drawing/2014/main" id="{9B3D8A58-50C3-A891-DE06-2A1F9243136E}"/>
              </a:ext>
            </a:extLst>
          </p:cNvPr>
          <p:cNvSpPr>
            <a:spLocks noChangeAspect="1"/>
          </p:cNvSpPr>
          <p:nvPr/>
        </p:nvSpPr>
        <p:spPr>
          <a:xfrm>
            <a:off x="4717973" y="2516091"/>
            <a:ext cx="2224084" cy="222408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Introduction and Background</a:t>
            </a:r>
            <a:br>
              <a:rPr lang="en-US" sz="3200" dirty="0"/>
            </a:br>
            <a:r>
              <a:rPr lang="en-US" sz="2400" dirty="0"/>
              <a:t>Key Air Cargo Issu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95B2F548-0791-05C0-8653-99468E48E849}"/>
              </a:ext>
            </a:extLst>
          </p:cNvPr>
          <p:cNvSpPr txBox="1"/>
          <p:nvPr/>
        </p:nvSpPr>
        <p:spPr>
          <a:xfrm>
            <a:off x="7306080" y="4268712"/>
            <a:ext cx="37086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658B"/>
                </a:solidFill>
              </a:rPr>
              <a:t>Demand </a:t>
            </a:r>
            <a:r>
              <a:rPr lang="en-US" sz="2400" dirty="0"/>
              <a:t>for air cargo has </a:t>
            </a:r>
            <a:r>
              <a:rPr lang="en-US" sz="2400" b="1" dirty="0">
                <a:solidFill>
                  <a:srgbClr val="00658B"/>
                </a:solidFill>
              </a:rPr>
              <a:t>increased significantly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306EE38F-79AD-53F2-B2A4-15A02C98E2A9}"/>
              </a:ext>
            </a:extLst>
          </p:cNvPr>
          <p:cNvSpPr txBox="1"/>
          <p:nvPr/>
        </p:nvSpPr>
        <p:spPr>
          <a:xfrm>
            <a:off x="2463820" y="1342163"/>
            <a:ext cx="726436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658B"/>
                </a:solidFill>
              </a:rPr>
              <a:t>Pilot costs </a:t>
            </a:r>
            <a:r>
              <a:rPr lang="en-US" sz="2400" dirty="0"/>
              <a:t>make up a </a:t>
            </a:r>
            <a:r>
              <a:rPr lang="en-US" sz="2400" b="1" dirty="0">
                <a:solidFill>
                  <a:srgbClr val="00658B"/>
                </a:solidFill>
              </a:rPr>
              <a:t>large portion of the operational costs </a:t>
            </a:r>
            <a:r>
              <a:rPr lang="en-US" sz="2400" dirty="0"/>
              <a:t>of regional air cargo operations</a:t>
            </a:r>
            <a:endParaRPr lang="de-DE" sz="2400" dirty="0"/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FA0542B8-D85F-33D4-A302-12ED37AE95C4}"/>
              </a:ext>
            </a:extLst>
          </p:cNvPr>
          <p:cNvSpPr txBox="1"/>
          <p:nvPr/>
        </p:nvSpPr>
        <p:spPr>
          <a:xfrm>
            <a:off x="1430316" y="3795217"/>
            <a:ext cx="331583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658B"/>
                </a:solidFill>
              </a:rPr>
              <a:t>Pilot shortage</a:t>
            </a:r>
            <a:r>
              <a:rPr lang="en-US" sz="2400" dirty="0"/>
              <a:t>, particularly in the regional air cargo realm</a:t>
            </a:r>
            <a:endParaRPr lang="de-DE" sz="240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CB1FE28-4503-7D4E-950E-0B4C0387B76F}"/>
              </a:ext>
            </a:extLst>
          </p:cNvPr>
          <p:cNvGrpSpPr/>
          <p:nvPr/>
        </p:nvGrpSpPr>
        <p:grpSpPr>
          <a:xfrm>
            <a:off x="6469914" y="3799958"/>
            <a:ext cx="720000" cy="720000"/>
            <a:chOff x="274230" y="3816816"/>
            <a:chExt cx="720000" cy="720000"/>
          </a:xfrm>
        </p:grpSpPr>
        <p:sp>
          <p:nvSpPr>
            <p:cNvPr id="7" name="Ellipse 178">
              <a:extLst>
                <a:ext uri="{FF2B5EF4-FFF2-40B4-BE49-F238E27FC236}">
                  <a16:creationId xmlns:a16="http://schemas.microsoft.com/office/drawing/2014/main" id="{76CE18B3-569D-B637-76C1-26F66499F080}"/>
                </a:ext>
              </a:extLst>
            </p:cNvPr>
            <p:cNvSpPr/>
            <p:nvPr/>
          </p:nvSpPr>
          <p:spPr>
            <a:xfrm>
              <a:off x="274230" y="3816816"/>
              <a:ext cx="720000" cy="720000"/>
            </a:xfrm>
            <a:prstGeom prst="ellipse">
              <a:avLst/>
            </a:prstGeom>
            <a:solidFill>
              <a:srgbClr val="00658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39E29FD0-0C51-4B48-8A73-71B802A8EE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821" y="3979698"/>
              <a:ext cx="418819" cy="394236"/>
            </a:xfrm>
            <a:custGeom>
              <a:avLst/>
              <a:gdLst>
                <a:gd name="T0" fmla="*/ 195 w 460"/>
                <a:gd name="T1" fmla="*/ 168 h 433"/>
                <a:gd name="T2" fmla="*/ 142 w 460"/>
                <a:gd name="T3" fmla="*/ 168 h 433"/>
                <a:gd name="T4" fmla="*/ 142 w 460"/>
                <a:gd name="T5" fmla="*/ 106 h 433"/>
                <a:gd name="T6" fmla="*/ 0 w 460"/>
                <a:gd name="T7" fmla="*/ 106 h 433"/>
                <a:gd name="T8" fmla="*/ 0 w 460"/>
                <a:gd name="T9" fmla="*/ 433 h 433"/>
                <a:gd name="T10" fmla="*/ 345 w 460"/>
                <a:gd name="T11" fmla="*/ 433 h 433"/>
                <a:gd name="T12" fmla="*/ 345 w 460"/>
                <a:gd name="T13" fmla="*/ 106 h 433"/>
                <a:gd name="T14" fmla="*/ 195 w 460"/>
                <a:gd name="T15" fmla="*/ 106 h 433"/>
                <a:gd name="T16" fmla="*/ 195 w 460"/>
                <a:gd name="T17" fmla="*/ 168 h 433"/>
                <a:gd name="T18" fmla="*/ 187 w 460"/>
                <a:gd name="T19" fmla="*/ 230 h 433"/>
                <a:gd name="T20" fmla="*/ 219 w 460"/>
                <a:gd name="T21" fmla="*/ 274 h 433"/>
                <a:gd name="T22" fmla="*/ 201 w 460"/>
                <a:gd name="T23" fmla="*/ 274 h 433"/>
                <a:gd name="T24" fmla="*/ 201 w 460"/>
                <a:gd name="T25" fmla="*/ 341 h 433"/>
                <a:gd name="T26" fmla="*/ 174 w 460"/>
                <a:gd name="T27" fmla="*/ 341 h 433"/>
                <a:gd name="T28" fmla="*/ 174 w 460"/>
                <a:gd name="T29" fmla="*/ 274 h 433"/>
                <a:gd name="T30" fmla="*/ 155 w 460"/>
                <a:gd name="T31" fmla="*/ 274 h 433"/>
                <a:gd name="T32" fmla="*/ 187 w 460"/>
                <a:gd name="T33" fmla="*/ 230 h 433"/>
                <a:gd name="T34" fmla="*/ 297 w 460"/>
                <a:gd name="T35" fmla="*/ 390 h 433"/>
                <a:gd name="T36" fmla="*/ 153 w 460"/>
                <a:gd name="T37" fmla="*/ 390 h 433"/>
                <a:gd name="T38" fmla="*/ 153 w 460"/>
                <a:gd name="T39" fmla="*/ 363 h 433"/>
                <a:gd name="T40" fmla="*/ 297 w 460"/>
                <a:gd name="T41" fmla="*/ 363 h 433"/>
                <a:gd name="T42" fmla="*/ 297 w 460"/>
                <a:gd name="T43" fmla="*/ 390 h 433"/>
                <a:gd name="T44" fmla="*/ 265 w 460"/>
                <a:gd name="T45" fmla="*/ 230 h 433"/>
                <a:gd name="T46" fmla="*/ 297 w 460"/>
                <a:gd name="T47" fmla="*/ 274 h 433"/>
                <a:gd name="T48" fmla="*/ 278 w 460"/>
                <a:gd name="T49" fmla="*/ 274 h 433"/>
                <a:gd name="T50" fmla="*/ 278 w 460"/>
                <a:gd name="T51" fmla="*/ 341 h 433"/>
                <a:gd name="T52" fmla="*/ 251 w 460"/>
                <a:gd name="T53" fmla="*/ 341 h 433"/>
                <a:gd name="T54" fmla="*/ 251 w 460"/>
                <a:gd name="T55" fmla="*/ 274 h 433"/>
                <a:gd name="T56" fmla="*/ 233 w 460"/>
                <a:gd name="T57" fmla="*/ 274 h 433"/>
                <a:gd name="T58" fmla="*/ 265 w 460"/>
                <a:gd name="T59" fmla="*/ 230 h 433"/>
                <a:gd name="T60" fmla="*/ 145 w 460"/>
                <a:gd name="T61" fmla="*/ 76 h 433"/>
                <a:gd name="T62" fmla="*/ 3 w 460"/>
                <a:gd name="T63" fmla="*/ 76 h 433"/>
                <a:gd name="T64" fmla="*/ 129 w 460"/>
                <a:gd name="T65" fmla="*/ 0 h 433"/>
                <a:gd name="T66" fmla="*/ 262 w 460"/>
                <a:gd name="T67" fmla="*/ 0 h 433"/>
                <a:gd name="T68" fmla="*/ 145 w 460"/>
                <a:gd name="T69" fmla="*/ 76 h 433"/>
                <a:gd name="T70" fmla="*/ 460 w 460"/>
                <a:gd name="T71" fmla="*/ 27 h 433"/>
                <a:gd name="T72" fmla="*/ 460 w 460"/>
                <a:gd name="T73" fmla="*/ 330 h 433"/>
                <a:gd name="T74" fmla="*/ 372 w 460"/>
                <a:gd name="T75" fmla="*/ 428 h 433"/>
                <a:gd name="T76" fmla="*/ 372 w 460"/>
                <a:gd name="T77" fmla="*/ 100 h 433"/>
                <a:gd name="T78" fmla="*/ 460 w 460"/>
                <a:gd name="T79" fmla="*/ 27 h 433"/>
                <a:gd name="T80" fmla="*/ 455 w 460"/>
                <a:gd name="T81" fmla="*/ 0 h 433"/>
                <a:gd name="T82" fmla="*/ 350 w 460"/>
                <a:gd name="T83" fmla="*/ 76 h 433"/>
                <a:gd name="T84" fmla="*/ 209 w 460"/>
                <a:gd name="T85" fmla="*/ 76 h 433"/>
                <a:gd name="T86" fmla="*/ 321 w 460"/>
                <a:gd name="T87" fmla="*/ 0 h 433"/>
                <a:gd name="T88" fmla="*/ 455 w 460"/>
                <a:gd name="T89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0" h="433">
                  <a:moveTo>
                    <a:pt x="195" y="168"/>
                  </a:moveTo>
                  <a:lnTo>
                    <a:pt x="142" y="168"/>
                  </a:lnTo>
                  <a:lnTo>
                    <a:pt x="142" y="106"/>
                  </a:lnTo>
                  <a:lnTo>
                    <a:pt x="0" y="106"/>
                  </a:lnTo>
                  <a:lnTo>
                    <a:pt x="0" y="433"/>
                  </a:lnTo>
                  <a:lnTo>
                    <a:pt x="345" y="433"/>
                  </a:lnTo>
                  <a:lnTo>
                    <a:pt x="345" y="106"/>
                  </a:lnTo>
                  <a:lnTo>
                    <a:pt x="195" y="106"/>
                  </a:lnTo>
                  <a:lnTo>
                    <a:pt x="195" y="168"/>
                  </a:lnTo>
                  <a:close/>
                  <a:moveTo>
                    <a:pt x="187" y="230"/>
                  </a:moveTo>
                  <a:lnTo>
                    <a:pt x="219" y="274"/>
                  </a:lnTo>
                  <a:lnTo>
                    <a:pt x="201" y="274"/>
                  </a:lnTo>
                  <a:lnTo>
                    <a:pt x="201" y="341"/>
                  </a:lnTo>
                  <a:lnTo>
                    <a:pt x="174" y="341"/>
                  </a:lnTo>
                  <a:lnTo>
                    <a:pt x="174" y="274"/>
                  </a:lnTo>
                  <a:lnTo>
                    <a:pt x="155" y="274"/>
                  </a:lnTo>
                  <a:lnTo>
                    <a:pt x="187" y="230"/>
                  </a:lnTo>
                  <a:close/>
                  <a:moveTo>
                    <a:pt x="297" y="390"/>
                  </a:moveTo>
                  <a:lnTo>
                    <a:pt x="153" y="390"/>
                  </a:lnTo>
                  <a:lnTo>
                    <a:pt x="153" y="363"/>
                  </a:lnTo>
                  <a:lnTo>
                    <a:pt x="297" y="363"/>
                  </a:lnTo>
                  <a:lnTo>
                    <a:pt x="297" y="390"/>
                  </a:lnTo>
                  <a:close/>
                  <a:moveTo>
                    <a:pt x="265" y="230"/>
                  </a:moveTo>
                  <a:lnTo>
                    <a:pt x="297" y="274"/>
                  </a:lnTo>
                  <a:lnTo>
                    <a:pt x="278" y="274"/>
                  </a:lnTo>
                  <a:lnTo>
                    <a:pt x="278" y="341"/>
                  </a:lnTo>
                  <a:lnTo>
                    <a:pt x="251" y="341"/>
                  </a:lnTo>
                  <a:lnTo>
                    <a:pt x="251" y="274"/>
                  </a:lnTo>
                  <a:lnTo>
                    <a:pt x="233" y="274"/>
                  </a:lnTo>
                  <a:lnTo>
                    <a:pt x="265" y="230"/>
                  </a:lnTo>
                  <a:close/>
                  <a:moveTo>
                    <a:pt x="145" y="76"/>
                  </a:moveTo>
                  <a:lnTo>
                    <a:pt x="3" y="76"/>
                  </a:lnTo>
                  <a:lnTo>
                    <a:pt x="129" y="0"/>
                  </a:lnTo>
                  <a:lnTo>
                    <a:pt x="262" y="0"/>
                  </a:lnTo>
                  <a:lnTo>
                    <a:pt x="145" y="76"/>
                  </a:lnTo>
                  <a:close/>
                  <a:moveTo>
                    <a:pt x="460" y="27"/>
                  </a:moveTo>
                  <a:lnTo>
                    <a:pt x="460" y="330"/>
                  </a:lnTo>
                  <a:lnTo>
                    <a:pt x="372" y="428"/>
                  </a:lnTo>
                  <a:lnTo>
                    <a:pt x="372" y="100"/>
                  </a:lnTo>
                  <a:lnTo>
                    <a:pt x="460" y="27"/>
                  </a:lnTo>
                  <a:close/>
                  <a:moveTo>
                    <a:pt x="455" y="0"/>
                  </a:moveTo>
                  <a:lnTo>
                    <a:pt x="350" y="76"/>
                  </a:lnTo>
                  <a:lnTo>
                    <a:pt x="209" y="76"/>
                  </a:lnTo>
                  <a:lnTo>
                    <a:pt x="321" y="0"/>
                  </a:lnTo>
                  <a:lnTo>
                    <a:pt x="45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F8AB8EC-8D02-E7FB-2171-E5B133D2D32C}"/>
              </a:ext>
            </a:extLst>
          </p:cNvPr>
          <p:cNvGrpSpPr/>
          <p:nvPr/>
        </p:nvGrpSpPr>
        <p:grpSpPr>
          <a:xfrm>
            <a:off x="5470015" y="2240372"/>
            <a:ext cx="720000" cy="720000"/>
            <a:chOff x="8703866" y="1734816"/>
            <a:chExt cx="720000" cy="720000"/>
          </a:xfrm>
        </p:grpSpPr>
        <p:sp>
          <p:nvSpPr>
            <p:cNvPr id="6" name="Ellipse 171">
              <a:extLst>
                <a:ext uri="{FF2B5EF4-FFF2-40B4-BE49-F238E27FC236}">
                  <a16:creationId xmlns:a16="http://schemas.microsoft.com/office/drawing/2014/main" id="{E0D5DD85-6A1A-CEE3-22E5-23E454815F96}"/>
                </a:ext>
              </a:extLst>
            </p:cNvPr>
            <p:cNvSpPr/>
            <p:nvPr/>
          </p:nvSpPr>
          <p:spPr>
            <a:xfrm>
              <a:off x="8703866" y="1734816"/>
              <a:ext cx="720000" cy="720000"/>
            </a:xfrm>
            <a:prstGeom prst="ellipse">
              <a:avLst/>
            </a:prstGeom>
            <a:solidFill>
              <a:srgbClr val="00658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pic>
          <p:nvPicPr>
            <p:cNvPr id="12" name="Grafik 11" descr="Ein Bild, das Symbol, Grafiken, Clipart, Logo enthält.&#10;&#10;Automatisch generierte Beschreibung">
              <a:extLst>
                <a:ext uri="{FF2B5EF4-FFF2-40B4-BE49-F238E27FC236}">
                  <a16:creationId xmlns:a16="http://schemas.microsoft.com/office/drawing/2014/main" id="{0F1A2D9B-E489-75D3-5412-A3AB3E12C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19973" y="1855143"/>
              <a:ext cx="488881" cy="429623"/>
            </a:xfrm>
            <a:prstGeom prst="rect">
              <a:avLst/>
            </a:prstGeom>
          </p:spPr>
        </p:pic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0D07630-CDB9-E278-4254-21BDBC4B56F6}"/>
              </a:ext>
            </a:extLst>
          </p:cNvPr>
          <p:cNvGrpSpPr/>
          <p:nvPr/>
        </p:nvGrpSpPr>
        <p:grpSpPr>
          <a:xfrm>
            <a:off x="4470116" y="3799958"/>
            <a:ext cx="720000" cy="720000"/>
            <a:chOff x="9155525" y="1552806"/>
            <a:chExt cx="720000" cy="720000"/>
          </a:xfrm>
        </p:grpSpPr>
        <p:sp>
          <p:nvSpPr>
            <p:cNvPr id="23" name="Ellipse 171">
              <a:extLst>
                <a:ext uri="{FF2B5EF4-FFF2-40B4-BE49-F238E27FC236}">
                  <a16:creationId xmlns:a16="http://schemas.microsoft.com/office/drawing/2014/main" id="{61A03430-7150-0EEE-F14C-C43F5AEAFE70}"/>
                </a:ext>
              </a:extLst>
            </p:cNvPr>
            <p:cNvSpPr/>
            <p:nvPr/>
          </p:nvSpPr>
          <p:spPr>
            <a:xfrm>
              <a:off x="9155525" y="1552806"/>
              <a:ext cx="720000" cy="720000"/>
            </a:xfrm>
            <a:prstGeom prst="ellipse">
              <a:avLst/>
            </a:prstGeom>
            <a:solidFill>
              <a:srgbClr val="00658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pic>
          <p:nvPicPr>
            <p:cNvPr id="25" name="Grafik 24" descr="Ein Bild, das Grafiken, Symbol, Kreis, Grafikdesign enthält.&#10;&#10;Automatisch generierte Beschreibung">
              <a:extLst>
                <a:ext uri="{FF2B5EF4-FFF2-40B4-BE49-F238E27FC236}">
                  <a16:creationId xmlns:a16="http://schemas.microsoft.com/office/drawing/2014/main" id="{9337C3E3-12FE-58DD-A415-D924C8549F1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83441" y="1708892"/>
              <a:ext cx="488881" cy="3983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4826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/>
      <p:bldP spid="94" grpId="0"/>
      <p:bldP spid="9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5895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4EAEA244-B543-37F5-B561-E8E6F94A29DB}"/>
              </a:ext>
            </a:extLst>
          </p:cNvPr>
          <p:cNvSpPr>
            <a:spLocks noChangeAspect="1"/>
          </p:cNvSpPr>
          <p:nvPr/>
        </p:nvSpPr>
        <p:spPr>
          <a:xfrm>
            <a:off x="4717973" y="2516091"/>
            <a:ext cx="2224084" cy="222408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Introduction and Background</a:t>
            </a:r>
            <a:br>
              <a:rPr lang="en-US" sz="3200" dirty="0"/>
            </a:br>
            <a:r>
              <a:rPr lang="en-US" sz="2400" dirty="0"/>
              <a:t>Key UAS Issu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95B2F548-0791-05C0-8653-99468E48E849}"/>
              </a:ext>
            </a:extLst>
          </p:cNvPr>
          <p:cNvSpPr txBox="1"/>
          <p:nvPr/>
        </p:nvSpPr>
        <p:spPr>
          <a:xfrm>
            <a:off x="674547" y="3926352"/>
            <a:ext cx="376724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658B"/>
                </a:solidFill>
              </a:rPr>
              <a:t>Contingency management</a:t>
            </a:r>
            <a:r>
              <a:rPr lang="en-US" sz="2400" dirty="0"/>
              <a:t>, including </a:t>
            </a:r>
            <a:r>
              <a:rPr lang="en-US" sz="2400" b="1" dirty="0">
                <a:solidFill>
                  <a:srgbClr val="00658B"/>
                </a:solidFill>
              </a:rPr>
              <a:t>lost command and control</a:t>
            </a:r>
            <a:r>
              <a:rPr lang="en-US" sz="2400" b="1" dirty="0"/>
              <a:t> </a:t>
            </a:r>
            <a:r>
              <a:rPr lang="en-US" sz="2400" dirty="0"/>
              <a:t>link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F73E3EE0-964D-3223-0EA5-B7DBB9339A50}"/>
              </a:ext>
            </a:extLst>
          </p:cNvPr>
          <p:cNvSpPr txBox="1"/>
          <p:nvPr/>
        </p:nvSpPr>
        <p:spPr>
          <a:xfrm>
            <a:off x="7503395" y="4054842"/>
            <a:ext cx="420828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658B"/>
                </a:solidFill>
              </a:rPr>
              <a:t>Interactions </a:t>
            </a:r>
            <a:r>
              <a:rPr lang="en-US" sz="2400" dirty="0"/>
              <a:t>with cooperative and non-cooperative traffic</a:t>
            </a:r>
            <a:endParaRPr lang="de-DE" sz="2400" b="1" dirty="0"/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306EE38F-79AD-53F2-B2A4-15A02C98E2A9}"/>
              </a:ext>
            </a:extLst>
          </p:cNvPr>
          <p:cNvSpPr txBox="1"/>
          <p:nvPr/>
        </p:nvSpPr>
        <p:spPr>
          <a:xfrm>
            <a:off x="2654789" y="1510497"/>
            <a:ext cx="726436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658B"/>
                </a:solidFill>
              </a:rPr>
              <a:t>Landing systems </a:t>
            </a:r>
            <a:r>
              <a:rPr lang="en-US" sz="2400" dirty="0"/>
              <a:t>technologies and availability </a:t>
            </a:r>
            <a:endParaRPr lang="de-DE" sz="2400" dirty="0"/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267E8010-DE98-BED6-AE2C-0A0BFED93EDF}"/>
              </a:ext>
            </a:extLst>
          </p:cNvPr>
          <p:cNvGrpSpPr/>
          <p:nvPr/>
        </p:nvGrpSpPr>
        <p:grpSpPr>
          <a:xfrm>
            <a:off x="4498098" y="3793257"/>
            <a:ext cx="720000" cy="720000"/>
            <a:chOff x="4233590" y="1509263"/>
            <a:chExt cx="720000" cy="720000"/>
          </a:xfrm>
        </p:grpSpPr>
        <p:sp>
          <p:nvSpPr>
            <p:cNvPr id="59" name="Ellipse 69">
              <a:extLst>
                <a:ext uri="{FF2B5EF4-FFF2-40B4-BE49-F238E27FC236}">
                  <a16:creationId xmlns:a16="http://schemas.microsoft.com/office/drawing/2014/main" id="{98F0397B-28DB-28F7-26F0-1A9551AA198D}"/>
                </a:ext>
              </a:extLst>
            </p:cNvPr>
            <p:cNvSpPr/>
            <p:nvPr/>
          </p:nvSpPr>
          <p:spPr>
            <a:xfrm>
              <a:off x="4233590" y="1509263"/>
              <a:ext cx="720000" cy="720000"/>
            </a:xfrm>
            <a:prstGeom prst="ellipse">
              <a:avLst/>
            </a:prstGeom>
            <a:solidFill>
              <a:srgbClr val="00658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60" name="Group 68">
              <a:extLst>
                <a:ext uri="{FF2B5EF4-FFF2-40B4-BE49-F238E27FC236}">
                  <a16:creationId xmlns:a16="http://schemas.microsoft.com/office/drawing/2014/main" id="{7872460E-4654-4A2E-2B14-BD1544C6B3B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383522" y="1642880"/>
              <a:ext cx="476007" cy="476739"/>
              <a:chOff x="-2038" y="-683"/>
              <a:chExt cx="1300" cy="1302"/>
            </a:xfrm>
            <a:solidFill>
              <a:schemeClr val="bg1"/>
            </a:solidFill>
          </p:grpSpPr>
          <p:sp>
            <p:nvSpPr>
              <p:cNvPr id="61" name="Freeform 69">
                <a:extLst>
                  <a:ext uri="{FF2B5EF4-FFF2-40B4-BE49-F238E27FC236}">
                    <a16:creationId xmlns:a16="http://schemas.microsoft.com/office/drawing/2014/main" id="{345790FC-66F3-C88E-F412-2B9E854F0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79" y="-524"/>
                <a:ext cx="474" cy="475"/>
              </a:xfrm>
              <a:custGeom>
                <a:avLst/>
                <a:gdLst>
                  <a:gd name="T0" fmla="*/ 0 w 200"/>
                  <a:gd name="T1" fmla="*/ 149 h 200"/>
                  <a:gd name="T2" fmla="*/ 150 w 200"/>
                  <a:gd name="T3" fmla="*/ 0 h 200"/>
                  <a:gd name="T4" fmla="*/ 0 w 200"/>
                  <a:gd name="T5" fmla="*/ 149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0" h="200">
                    <a:moveTo>
                      <a:pt x="0" y="149"/>
                    </a:moveTo>
                    <a:cubicBezTo>
                      <a:pt x="104" y="200"/>
                      <a:pt x="200" y="103"/>
                      <a:pt x="150" y="0"/>
                    </a:cubicBezTo>
                    <a:lnTo>
                      <a:pt x="0" y="1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70">
                <a:extLst>
                  <a:ext uri="{FF2B5EF4-FFF2-40B4-BE49-F238E27FC236}">
                    <a16:creationId xmlns:a16="http://schemas.microsoft.com/office/drawing/2014/main" id="{B52F4D27-5049-E693-27E7-CDB664BF93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773" y="-419"/>
                <a:ext cx="117" cy="119"/>
              </a:xfrm>
              <a:custGeom>
                <a:avLst/>
                <a:gdLst>
                  <a:gd name="T0" fmla="*/ 9 w 49"/>
                  <a:gd name="T1" fmla="*/ 9 h 50"/>
                  <a:gd name="T2" fmla="*/ 16 w 49"/>
                  <a:gd name="T3" fmla="*/ 50 h 50"/>
                  <a:gd name="T4" fmla="*/ 49 w 49"/>
                  <a:gd name="T5" fmla="*/ 16 h 50"/>
                  <a:gd name="T6" fmla="*/ 9 w 49"/>
                  <a:gd name="T7" fmla="*/ 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" h="50">
                    <a:moveTo>
                      <a:pt x="9" y="9"/>
                    </a:moveTo>
                    <a:cubicBezTo>
                      <a:pt x="0" y="19"/>
                      <a:pt x="3" y="37"/>
                      <a:pt x="16" y="50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36" y="3"/>
                      <a:pt x="18" y="0"/>
                      <a:pt x="9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71">
                <a:extLst>
                  <a:ext uri="{FF2B5EF4-FFF2-40B4-BE49-F238E27FC236}">
                    <a16:creationId xmlns:a16="http://schemas.microsoft.com/office/drawing/2014/main" id="{FBF6CFF4-694D-D31D-76BE-4B6EA45E2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20" y="-567"/>
                <a:ext cx="204" cy="205"/>
              </a:xfrm>
              <a:custGeom>
                <a:avLst/>
                <a:gdLst>
                  <a:gd name="T0" fmla="*/ 0 w 86"/>
                  <a:gd name="T1" fmla="*/ 74 h 86"/>
                  <a:gd name="T2" fmla="*/ 0 w 86"/>
                  <a:gd name="T3" fmla="*/ 74 h 86"/>
                  <a:gd name="T4" fmla="*/ 12 w 86"/>
                  <a:gd name="T5" fmla="*/ 86 h 86"/>
                  <a:gd name="T6" fmla="*/ 26 w 86"/>
                  <a:gd name="T7" fmla="*/ 74 h 86"/>
                  <a:gd name="T8" fmla="*/ 73 w 86"/>
                  <a:gd name="T9" fmla="*/ 26 h 86"/>
                  <a:gd name="T10" fmla="*/ 86 w 86"/>
                  <a:gd name="T11" fmla="*/ 13 h 86"/>
                  <a:gd name="T12" fmla="*/ 82 w 86"/>
                  <a:gd name="T13" fmla="*/ 4 h 86"/>
                  <a:gd name="T14" fmla="*/ 73 w 86"/>
                  <a:gd name="T15" fmla="*/ 1 h 86"/>
                  <a:gd name="T16" fmla="*/ 21 w 86"/>
                  <a:gd name="T17" fmla="*/ 22 h 86"/>
                  <a:gd name="T18" fmla="*/ 0 w 86"/>
                  <a:gd name="T19" fmla="*/ 7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86">
                    <a:moveTo>
                      <a:pt x="0" y="74"/>
                    </a:moveTo>
                    <a:cubicBezTo>
                      <a:pt x="0" y="74"/>
                      <a:pt x="0" y="74"/>
                      <a:pt x="0" y="74"/>
                    </a:cubicBezTo>
                    <a:cubicBezTo>
                      <a:pt x="0" y="81"/>
                      <a:pt x="5" y="86"/>
                      <a:pt x="12" y="86"/>
                    </a:cubicBezTo>
                    <a:cubicBezTo>
                      <a:pt x="20" y="86"/>
                      <a:pt x="25" y="81"/>
                      <a:pt x="26" y="74"/>
                    </a:cubicBezTo>
                    <a:cubicBezTo>
                      <a:pt x="26" y="48"/>
                      <a:pt x="47" y="27"/>
                      <a:pt x="73" y="26"/>
                    </a:cubicBezTo>
                    <a:cubicBezTo>
                      <a:pt x="80" y="26"/>
                      <a:pt x="86" y="21"/>
                      <a:pt x="86" y="13"/>
                    </a:cubicBezTo>
                    <a:cubicBezTo>
                      <a:pt x="86" y="10"/>
                      <a:pt x="84" y="6"/>
                      <a:pt x="82" y="4"/>
                    </a:cubicBezTo>
                    <a:cubicBezTo>
                      <a:pt x="79" y="2"/>
                      <a:pt x="77" y="0"/>
                      <a:pt x="73" y="1"/>
                    </a:cubicBezTo>
                    <a:cubicBezTo>
                      <a:pt x="53" y="1"/>
                      <a:pt x="35" y="8"/>
                      <a:pt x="21" y="22"/>
                    </a:cubicBezTo>
                    <a:cubicBezTo>
                      <a:pt x="8" y="36"/>
                      <a:pt x="0" y="54"/>
                      <a:pt x="0" y="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72">
                <a:extLst>
                  <a:ext uri="{FF2B5EF4-FFF2-40B4-BE49-F238E27FC236}">
                    <a16:creationId xmlns:a16="http://schemas.microsoft.com/office/drawing/2014/main" id="{3CBFB5CF-12CE-FA76-7591-995B13396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038" y="-683"/>
                <a:ext cx="308" cy="309"/>
              </a:xfrm>
              <a:custGeom>
                <a:avLst/>
                <a:gdLst>
                  <a:gd name="T0" fmla="*/ 34 w 130"/>
                  <a:gd name="T1" fmla="*/ 34 h 130"/>
                  <a:gd name="T2" fmla="*/ 0 w 130"/>
                  <a:gd name="T3" fmla="*/ 117 h 130"/>
                  <a:gd name="T4" fmla="*/ 0 w 130"/>
                  <a:gd name="T5" fmla="*/ 117 h 130"/>
                  <a:gd name="T6" fmla="*/ 13 w 130"/>
                  <a:gd name="T7" fmla="*/ 130 h 130"/>
                  <a:gd name="T8" fmla="*/ 26 w 130"/>
                  <a:gd name="T9" fmla="*/ 117 h 130"/>
                  <a:gd name="T10" fmla="*/ 53 w 130"/>
                  <a:gd name="T11" fmla="*/ 53 h 130"/>
                  <a:gd name="T12" fmla="*/ 117 w 130"/>
                  <a:gd name="T13" fmla="*/ 26 h 130"/>
                  <a:gd name="T14" fmla="*/ 130 w 130"/>
                  <a:gd name="T15" fmla="*/ 13 h 130"/>
                  <a:gd name="T16" fmla="*/ 126 w 130"/>
                  <a:gd name="T17" fmla="*/ 4 h 130"/>
                  <a:gd name="T18" fmla="*/ 117 w 130"/>
                  <a:gd name="T19" fmla="*/ 0 h 130"/>
                  <a:gd name="T20" fmla="*/ 34 w 130"/>
                  <a:gd name="T21" fmla="*/ 34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0" h="130">
                    <a:moveTo>
                      <a:pt x="34" y="34"/>
                    </a:moveTo>
                    <a:cubicBezTo>
                      <a:pt x="13" y="56"/>
                      <a:pt x="0" y="86"/>
                      <a:pt x="0" y="117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4"/>
                      <a:pt x="6" y="130"/>
                      <a:pt x="13" y="130"/>
                    </a:cubicBezTo>
                    <a:cubicBezTo>
                      <a:pt x="21" y="130"/>
                      <a:pt x="26" y="124"/>
                      <a:pt x="26" y="117"/>
                    </a:cubicBezTo>
                    <a:cubicBezTo>
                      <a:pt x="26" y="93"/>
                      <a:pt x="36" y="70"/>
                      <a:pt x="53" y="53"/>
                    </a:cubicBezTo>
                    <a:cubicBezTo>
                      <a:pt x="69" y="36"/>
                      <a:pt x="93" y="26"/>
                      <a:pt x="117" y="26"/>
                    </a:cubicBezTo>
                    <a:cubicBezTo>
                      <a:pt x="125" y="26"/>
                      <a:pt x="130" y="20"/>
                      <a:pt x="130" y="13"/>
                    </a:cubicBezTo>
                    <a:cubicBezTo>
                      <a:pt x="130" y="9"/>
                      <a:pt x="129" y="6"/>
                      <a:pt x="126" y="4"/>
                    </a:cubicBezTo>
                    <a:cubicBezTo>
                      <a:pt x="124" y="1"/>
                      <a:pt x="121" y="0"/>
                      <a:pt x="117" y="0"/>
                    </a:cubicBezTo>
                    <a:cubicBezTo>
                      <a:pt x="86" y="0"/>
                      <a:pt x="57" y="12"/>
                      <a:pt x="3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73">
                <a:extLst>
                  <a:ext uri="{FF2B5EF4-FFF2-40B4-BE49-F238E27FC236}">
                    <a16:creationId xmlns:a16="http://schemas.microsoft.com/office/drawing/2014/main" id="{4EB663C0-3343-93EC-5918-620DDFD7E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614" y="-258"/>
                <a:ext cx="378" cy="376"/>
              </a:xfrm>
              <a:custGeom>
                <a:avLst/>
                <a:gdLst>
                  <a:gd name="T0" fmla="*/ 139 w 159"/>
                  <a:gd name="T1" fmla="*/ 68 h 158"/>
                  <a:gd name="T2" fmla="*/ 139 w 159"/>
                  <a:gd name="T3" fmla="*/ 139 h 158"/>
                  <a:gd name="T4" fmla="*/ 139 w 159"/>
                  <a:gd name="T5" fmla="*/ 139 h 158"/>
                  <a:gd name="T6" fmla="*/ 69 w 159"/>
                  <a:gd name="T7" fmla="*/ 139 h 158"/>
                  <a:gd name="T8" fmla="*/ 19 w 159"/>
                  <a:gd name="T9" fmla="*/ 90 h 158"/>
                  <a:gd name="T10" fmla="*/ 19 w 159"/>
                  <a:gd name="T11" fmla="*/ 19 h 158"/>
                  <a:gd name="T12" fmla="*/ 19 w 159"/>
                  <a:gd name="T13" fmla="*/ 19 h 158"/>
                  <a:gd name="T14" fmla="*/ 90 w 159"/>
                  <a:gd name="T15" fmla="*/ 19 h 158"/>
                  <a:gd name="T16" fmla="*/ 139 w 159"/>
                  <a:gd name="T17" fmla="*/ 6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9" h="158">
                    <a:moveTo>
                      <a:pt x="139" y="68"/>
                    </a:moveTo>
                    <a:cubicBezTo>
                      <a:pt x="159" y="88"/>
                      <a:pt x="159" y="119"/>
                      <a:pt x="139" y="139"/>
                    </a:cubicBezTo>
                    <a:cubicBezTo>
                      <a:pt x="139" y="139"/>
                      <a:pt x="139" y="139"/>
                      <a:pt x="139" y="139"/>
                    </a:cubicBezTo>
                    <a:cubicBezTo>
                      <a:pt x="120" y="158"/>
                      <a:pt x="88" y="158"/>
                      <a:pt x="69" y="139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0" y="70"/>
                      <a:pt x="0" y="38"/>
                      <a:pt x="19" y="19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39" y="0"/>
                      <a:pt x="70" y="0"/>
                      <a:pt x="90" y="19"/>
                    </a:cubicBezTo>
                    <a:lnTo>
                      <a:pt x="139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6" name="Freeform 74">
                <a:extLst>
                  <a:ext uri="{FF2B5EF4-FFF2-40B4-BE49-F238E27FC236}">
                    <a16:creationId xmlns:a16="http://schemas.microsoft.com/office/drawing/2014/main" id="{5B275E53-8DE9-FCFE-043A-03998FF1F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00" y="-44"/>
                <a:ext cx="313" cy="314"/>
              </a:xfrm>
              <a:custGeom>
                <a:avLst/>
                <a:gdLst>
                  <a:gd name="T0" fmla="*/ 70 w 132"/>
                  <a:gd name="T1" fmla="*/ 70 h 132"/>
                  <a:gd name="T2" fmla="*/ 0 w 132"/>
                  <a:gd name="T3" fmla="*/ 70 h 132"/>
                  <a:gd name="T4" fmla="*/ 43 w 132"/>
                  <a:gd name="T5" fmla="*/ 113 h 132"/>
                  <a:gd name="T6" fmla="*/ 113 w 132"/>
                  <a:gd name="T7" fmla="*/ 113 h 132"/>
                  <a:gd name="T8" fmla="*/ 113 w 132"/>
                  <a:gd name="T9" fmla="*/ 42 h 132"/>
                  <a:gd name="T10" fmla="*/ 70 w 132"/>
                  <a:gd name="T11" fmla="*/ 0 h 132"/>
                  <a:gd name="T12" fmla="*/ 70 w 132"/>
                  <a:gd name="T13" fmla="*/ 7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2" h="132">
                    <a:moveTo>
                      <a:pt x="70" y="70"/>
                    </a:moveTo>
                    <a:cubicBezTo>
                      <a:pt x="50" y="89"/>
                      <a:pt x="19" y="89"/>
                      <a:pt x="0" y="70"/>
                    </a:cubicBezTo>
                    <a:cubicBezTo>
                      <a:pt x="43" y="113"/>
                      <a:pt x="43" y="113"/>
                      <a:pt x="43" y="113"/>
                    </a:cubicBezTo>
                    <a:cubicBezTo>
                      <a:pt x="62" y="132"/>
                      <a:pt x="93" y="132"/>
                      <a:pt x="113" y="113"/>
                    </a:cubicBezTo>
                    <a:cubicBezTo>
                      <a:pt x="132" y="93"/>
                      <a:pt x="132" y="62"/>
                      <a:pt x="113" y="42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89" y="19"/>
                      <a:pt x="89" y="50"/>
                      <a:pt x="70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7" name="Freeform 75">
                <a:extLst>
                  <a:ext uri="{FF2B5EF4-FFF2-40B4-BE49-F238E27FC236}">
                    <a16:creationId xmlns:a16="http://schemas.microsoft.com/office/drawing/2014/main" id="{95D57B41-3A23-FBD2-4E7E-C07FF0999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48" y="54"/>
                <a:ext cx="567" cy="565"/>
              </a:xfrm>
              <a:custGeom>
                <a:avLst/>
                <a:gdLst>
                  <a:gd name="T0" fmla="*/ 232 w 239"/>
                  <a:gd name="T1" fmla="*/ 85 h 238"/>
                  <a:gd name="T2" fmla="*/ 232 w 239"/>
                  <a:gd name="T3" fmla="*/ 111 h 238"/>
                  <a:gd name="T4" fmla="*/ 112 w 239"/>
                  <a:gd name="T5" fmla="*/ 231 h 238"/>
                  <a:gd name="T6" fmla="*/ 86 w 239"/>
                  <a:gd name="T7" fmla="*/ 231 h 238"/>
                  <a:gd name="T8" fmla="*/ 8 w 239"/>
                  <a:gd name="T9" fmla="*/ 153 h 238"/>
                  <a:gd name="T10" fmla="*/ 8 w 239"/>
                  <a:gd name="T11" fmla="*/ 126 h 238"/>
                  <a:gd name="T12" fmla="*/ 128 w 239"/>
                  <a:gd name="T13" fmla="*/ 7 h 238"/>
                  <a:gd name="T14" fmla="*/ 154 w 239"/>
                  <a:gd name="T15" fmla="*/ 7 h 238"/>
                  <a:gd name="T16" fmla="*/ 232 w 239"/>
                  <a:gd name="T17" fmla="*/ 85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238">
                    <a:moveTo>
                      <a:pt x="232" y="85"/>
                    </a:moveTo>
                    <a:cubicBezTo>
                      <a:pt x="239" y="92"/>
                      <a:pt x="239" y="104"/>
                      <a:pt x="232" y="111"/>
                    </a:cubicBezTo>
                    <a:cubicBezTo>
                      <a:pt x="112" y="231"/>
                      <a:pt x="112" y="231"/>
                      <a:pt x="112" y="231"/>
                    </a:cubicBezTo>
                    <a:cubicBezTo>
                      <a:pt x="105" y="238"/>
                      <a:pt x="93" y="238"/>
                      <a:pt x="86" y="231"/>
                    </a:cubicBezTo>
                    <a:cubicBezTo>
                      <a:pt x="8" y="153"/>
                      <a:pt x="8" y="153"/>
                      <a:pt x="8" y="153"/>
                    </a:cubicBezTo>
                    <a:cubicBezTo>
                      <a:pt x="0" y="145"/>
                      <a:pt x="0" y="134"/>
                      <a:pt x="8" y="126"/>
                    </a:cubicBezTo>
                    <a:cubicBezTo>
                      <a:pt x="128" y="7"/>
                      <a:pt x="128" y="7"/>
                      <a:pt x="128" y="7"/>
                    </a:cubicBezTo>
                    <a:cubicBezTo>
                      <a:pt x="135" y="0"/>
                      <a:pt x="146" y="0"/>
                      <a:pt x="154" y="7"/>
                    </a:cubicBezTo>
                    <a:lnTo>
                      <a:pt x="232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8" name="Freeform 76">
                <a:extLst>
                  <a:ext uri="{FF2B5EF4-FFF2-40B4-BE49-F238E27FC236}">
                    <a16:creationId xmlns:a16="http://schemas.microsoft.com/office/drawing/2014/main" id="{CCCB36E1-746A-577A-D40D-2CF5095FFE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03" y="-593"/>
                <a:ext cx="565" cy="568"/>
              </a:xfrm>
              <a:custGeom>
                <a:avLst/>
                <a:gdLst>
                  <a:gd name="T0" fmla="*/ 231 w 238"/>
                  <a:gd name="T1" fmla="*/ 86 h 239"/>
                  <a:gd name="T2" fmla="*/ 231 w 238"/>
                  <a:gd name="T3" fmla="*/ 112 h 239"/>
                  <a:gd name="T4" fmla="*/ 111 w 238"/>
                  <a:gd name="T5" fmla="*/ 232 h 239"/>
                  <a:gd name="T6" fmla="*/ 85 w 238"/>
                  <a:gd name="T7" fmla="*/ 232 h 239"/>
                  <a:gd name="T8" fmla="*/ 7 w 238"/>
                  <a:gd name="T9" fmla="*/ 153 h 239"/>
                  <a:gd name="T10" fmla="*/ 7 w 238"/>
                  <a:gd name="T11" fmla="*/ 127 h 239"/>
                  <a:gd name="T12" fmla="*/ 127 w 238"/>
                  <a:gd name="T13" fmla="*/ 8 h 239"/>
                  <a:gd name="T14" fmla="*/ 153 w 238"/>
                  <a:gd name="T15" fmla="*/ 8 h 239"/>
                  <a:gd name="T16" fmla="*/ 231 w 238"/>
                  <a:gd name="T17" fmla="*/ 8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239">
                    <a:moveTo>
                      <a:pt x="231" y="86"/>
                    </a:moveTo>
                    <a:cubicBezTo>
                      <a:pt x="238" y="93"/>
                      <a:pt x="238" y="105"/>
                      <a:pt x="231" y="112"/>
                    </a:cubicBezTo>
                    <a:cubicBezTo>
                      <a:pt x="111" y="232"/>
                      <a:pt x="111" y="232"/>
                      <a:pt x="111" y="232"/>
                    </a:cubicBezTo>
                    <a:cubicBezTo>
                      <a:pt x="104" y="239"/>
                      <a:pt x="92" y="239"/>
                      <a:pt x="85" y="232"/>
                    </a:cubicBezTo>
                    <a:cubicBezTo>
                      <a:pt x="7" y="153"/>
                      <a:pt x="7" y="153"/>
                      <a:pt x="7" y="153"/>
                    </a:cubicBezTo>
                    <a:cubicBezTo>
                      <a:pt x="0" y="146"/>
                      <a:pt x="0" y="135"/>
                      <a:pt x="7" y="127"/>
                    </a:cubicBezTo>
                    <a:cubicBezTo>
                      <a:pt x="127" y="8"/>
                      <a:pt x="127" y="8"/>
                      <a:pt x="127" y="8"/>
                    </a:cubicBezTo>
                    <a:cubicBezTo>
                      <a:pt x="134" y="0"/>
                      <a:pt x="146" y="0"/>
                      <a:pt x="153" y="8"/>
                    </a:cubicBezTo>
                    <a:lnTo>
                      <a:pt x="231" y="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4CF43154-4BFA-6D31-6D91-8894F5B65713}"/>
              </a:ext>
            </a:extLst>
          </p:cNvPr>
          <p:cNvGrpSpPr/>
          <p:nvPr/>
        </p:nvGrpSpPr>
        <p:grpSpPr>
          <a:xfrm>
            <a:off x="5470015" y="2243580"/>
            <a:ext cx="720000" cy="720000"/>
            <a:chOff x="8192950" y="1509263"/>
            <a:chExt cx="720000" cy="720000"/>
          </a:xfrm>
        </p:grpSpPr>
        <p:sp>
          <p:nvSpPr>
            <p:cNvPr id="70" name="Ellipse 110">
              <a:extLst>
                <a:ext uri="{FF2B5EF4-FFF2-40B4-BE49-F238E27FC236}">
                  <a16:creationId xmlns:a16="http://schemas.microsoft.com/office/drawing/2014/main" id="{24565DB6-ADE9-6163-1015-1DF9F125C626}"/>
                </a:ext>
              </a:extLst>
            </p:cNvPr>
            <p:cNvSpPr/>
            <p:nvPr/>
          </p:nvSpPr>
          <p:spPr>
            <a:xfrm>
              <a:off x="8192950" y="1509263"/>
              <a:ext cx="720000" cy="720000"/>
            </a:xfrm>
            <a:prstGeom prst="ellipse">
              <a:avLst/>
            </a:prstGeom>
            <a:solidFill>
              <a:srgbClr val="00658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71" name="Group 162">
              <a:extLst>
                <a:ext uri="{FF2B5EF4-FFF2-40B4-BE49-F238E27FC236}">
                  <a16:creationId xmlns:a16="http://schemas.microsoft.com/office/drawing/2014/main" id="{D1D299EA-F0B8-5FFB-F67C-034D685C32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47564" y="1686753"/>
              <a:ext cx="410772" cy="336442"/>
              <a:chOff x="4365" y="182"/>
              <a:chExt cx="525" cy="430"/>
            </a:xfrm>
            <a:solidFill>
              <a:schemeClr val="bg1"/>
            </a:solidFill>
          </p:grpSpPr>
          <p:sp>
            <p:nvSpPr>
              <p:cNvPr id="72" name="Freeform 163">
                <a:extLst>
                  <a:ext uri="{FF2B5EF4-FFF2-40B4-BE49-F238E27FC236}">
                    <a16:creationId xmlns:a16="http://schemas.microsoft.com/office/drawing/2014/main" id="{22ADEC72-C77D-CDD7-D5D5-E14A8E061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7" y="579"/>
                <a:ext cx="517" cy="33"/>
              </a:xfrm>
              <a:custGeom>
                <a:avLst/>
                <a:gdLst>
                  <a:gd name="T0" fmla="*/ 1010 w 1010"/>
                  <a:gd name="T1" fmla="*/ 31 h 63"/>
                  <a:gd name="T2" fmla="*/ 979 w 1010"/>
                  <a:gd name="T3" fmla="*/ 63 h 63"/>
                  <a:gd name="T4" fmla="*/ 32 w 1010"/>
                  <a:gd name="T5" fmla="*/ 63 h 63"/>
                  <a:gd name="T6" fmla="*/ 0 w 1010"/>
                  <a:gd name="T7" fmla="*/ 31 h 63"/>
                  <a:gd name="T8" fmla="*/ 0 w 1010"/>
                  <a:gd name="T9" fmla="*/ 31 h 63"/>
                  <a:gd name="T10" fmla="*/ 32 w 1010"/>
                  <a:gd name="T11" fmla="*/ 0 h 63"/>
                  <a:gd name="T12" fmla="*/ 979 w 1010"/>
                  <a:gd name="T13" fmla="*/ 0 h 63"/>
                  <a:gd name="T14" fmla="*/ 1010 w 1010"/>
                  <a:gd name="T15" fmla="*/ 3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0" h="63">
                    <a:moveTo>
                      <a:pt x="1010" y="31"/>
                    </a:moveTo>
                    <a:cubicBezTo>
                      <a:pt x="1010" y="49"/>
                      <a:pt x="996" y="63"/>
                      <a:pt x="979" y="63"/>
                    </a:cubicBezTo>
                    <a:cubicBezTo>
                      <a:pt x="32" y="63"/>
                      <a:pt x="32" y="63"/>
                      <a:pt x="32" y="63"/>
                    </a:cubicBezTo>
                    <a:cubicBezTo>
                      <a:pt x="14" y="63"/>
                      <a:pt x="0" y="49"/>
                      <a:pt x="0" y="31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979" y="0"/>
                      <a:pt x="979" y="0"/>
                      <a:pt x="979" y="0"/>
                    </a:cubicBezTo>
                    <a:cubicBezTo>
                      <a:pt x="996" y="0"/>
                      <a:pt x="1010" y="14"/>
                      <a:pt x="1010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3" name="Freeform 164">
                <a:extLst>
                  <a:ext uri="{FF2B5EF4-FFF2-40B4-BE49-F238E27FC236}">
                    <a16:creationId xmlns:a16="http://schemas.microsoft.com/office/drawing/2014/main" id="{60FC00CA-B6CC-EBAC-CE35-729EE389D7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65" y="182"/>
                <a:ext cx="525" cy="340"/>
              </a:xfrm>
              <a:custGeom>
                <a:avLst/>
                <a:gdLst>
                  <a:gd name="T0" fmla="*/ 981 w 1023"/>
                  <a:gd name="T1" fmla="*/ 645 h 664"/>
                  <a:gd name="T2" fmla="*/ 925 w 1023"/>
                  <a:gd name="T3" fmla="*/ 657 h 664"/>
                  <a:gd name="T4" fmla="*/ 805 w 1023"/>
                  <a:gd name="T5" fmla="*/ 651 h 664"/>
                  <a:gd name="T6" fmla="*/ 719 w 1023"/>
                  <a:gd name="T7" fmla="*/ 622 h 664"/>
                  <a:gd name="T8" fmla="*/ 344 w 1023"/>
                  <a:gd name="T9" fmla="*/ 495 h 664"/>
                  <a:gd name="T10" fmla="*/ 16 w 1023"/>
                  <a:gd name="T11" fmla="*/ 274 h 664"/>
                  <a:gd name="T12" fmla="*/ 4 w 1023"/>
                  <a:gd name="T13" fmla="*/ 159 h 664"/>
                  <a:gd name="T14" fmla="*/ 35 w 1023"/>
                  <a:gd name="T15" fmla="*/ 107 h 664"/>
                  <a:gd name="T16" fmla="*/ 109 w 1023"/>
                  <a:gd name="T17" fmla="*/ 168 h 664"/>
                  <a:gd name="T18" fmla="*/ 136 w 1023"/>
                  <a:gd name="T19" fmla="*/ 207 h 664"/>
                  <a:gd name="T20" fmla="*/ 231 w 1023"/>
                  <a:gd name="T21" fmla="*/ 275 h 664"/>
                  <a:gd name="T22" fmla="*/ 315 w 1023"/>
                  <a:gd name="T23" fmla="*/ 299 h 664"/>
                  <a:gd name="T24" fmla="*/ 354 w 1023"/>
                  <a:gd name="T25" fmla="*/ 258 h 664"/>
                  <a:gd name="T26" fmla="*/ 281 w 1023"/>
                  <a:gd name="T27" fmla="*/ 53 h 664"/>
                  <a:gd name="T28" fmla="*/ 317 w 1023"/>
                  <a:gd name="T29" fmla="*/ 8 h 664"/>
                  <a:gd name="T30" fmla="*/ 406 w 1023"/>
                  <a:gd name="T31" fmla="*/ 76 h 664"/>
                  <a:gd name="T32" fmla="*/ 552 w 1023"/>
                  <a:gd name="T33" fmla="*/ 315 h 664"/>
                  <a:gd name="T34" fmla="*/ 645 w 1023"/>
                  <a:gd name="T35" fmla="*/ 385 h 664"/>
                  <a:gd name="T36" fmla="*/ 821 w 1023"/>
                  <a:gd name="T37" fmla="*/ 432 h 664"/>
                  <a:gd name="T38" fmla="*/ 922 w 1023"/>
                  <a:gd name="T39" fmla="*/ 495 h 664"/>
                  <a:gd name="T40" fmla="*/ 1001 w 1023"/>
                  <a:gd name="T41" fmla="*/ 584 h 664"/>
                  <a:gd name="T42" fmla="*/ 981 w 1023"/>
                  <a:gd name="T43" fmla="*/ 645 h 664"/>
                  <a:gd name="T44" fmla="*/ 868 w 1023"/>
                  <a:gd name="T45" fmla="*/ 486 h 664"/>
                  <a:gd name="T46" fmla="*/ 875 w 1023"/>
                  <a:gd name="T47" fmla="*/ 543 h 664"/>
                  <a:gd name="T48" fmla="*/ 951 w 1023"/>
                  <a:gd name="T49" fmla="*/ 574 h 664"/>
                  <a:gd name="T50" fmla="*/ 868 w 1023"/>
                  <a:gd name="T51" fmla="*/ 486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23" h="664">
                    <a:moveTo>
                      <a:pt x="981" y="645"/>
                    </a:moveTo>
                    <a:cubicBezTo>
                      <a:pt x="925" y="657"/>
                      <a:pt x="925" y="657"/>
                      <a:pt x="925" y="657"/>
                    </a:cubicBezTo>
                    <a:cubicBezTo>
                      <a:pt x="891" y="664"/>
                      <a:pt x="837" y="661"/>
                      <a:pt x="805" y="651"/>
                    </a:cubicBezTo>
                    <a:cubicBezTo>
                      <a:pt x="776" y="641"/>
                      <a:pt x="747" y="631"/>
                      <a:pt x="719" y="622"/>
                    </a:cubicBezTo>
                    <a:cubicBezTo>
                      <a:pt x="594" y="579"/>
                      <a:pt x="469" y="538"/>
                      <a:pt x="344" y="495"/>
                    </a:cubicBezTo>
                    <a:cubicBezTo>
                      <a:pt x="224" y="454"/>
                      <a:pt x="32" y="429"/>
                      <a:pt x="16" y="274"/>
                    </a:cubicBezTo>
                    <a:cubicBezTo>
                      <a:pt x="4" y="159"/>
                      <a:pt x="4" y="159"/>
                      <a:pt x="4" y="159"/>
                    </a:cubicBezTo>
                    <a:cubicBezTo>
                      <a:pt x="0" y="125"/>
                      <a:pt x="14" y="102"/>
                      <a:pt x="35" y="107"/>
                    </a:cubicBezTo>
                    <a:cubicBezTo>
                      <a:pt x="57" y="112"/>
                      <a:pt x="90" y="140"/>
                      <a:pt x="109" y="168"/>
                    </a:cubicBezTo>
                    <a:cubicBezTo>
                      <a:pt x="136" y="207"/>
                      <a:pt x="136" y="207"/>
                      <a:pt x="136" y="207"/>
                    </a:cubicBezTo>
                    <a:cubicBezTo>
                      <a:pt x="155" y="235"/>
                      <a:pt x="160" y="258"/>
                      <a:pt x="231" y="275"/>
                    </a:cubicBezTo>
                    <a:cubicBezTo>
                      <a:pt x="315" y="299"/>
                      <a:pt x="315" y="299"/>
                      <a:pt x="315" y="299"/>
                    </a:cubicBezTo>
                    <a:cubicBezTo>
                      <a:pt x="347" y="309"/>
                      <a:pt x="365" y="290"/>
                      <a:pt x="354" y="258"/>
                    </a:cubicBezTo>
                    <a:cubicBezTo>
                      <a:pt x="281" y="53"/>
                      <a:pt x="281" y="53"/>
                      <a:pt x="281" y="53"/>
                    </a:cubicBezTo>
                    <a:cubicBezTo>
                      <a:pt x="270" y="20"/>
                      <a:pt x="286" y="0"/>
                      <a:pt x="317" y="8"/>
                    </a:cubicBezTo>
                    <a:cubicBezTo>
                      <a:pt x="348" y="16"/>
                      <a:pt x="388" y="46"/>
                      <a:pt x="406" y="76"/>
                    </a:cubicBezTo>
                    <a:cubicBezTo>
                      <a:pt x="552" y="315"/>
                      <a:pt x="552" y="315"/>
                      <a:pt x="552" y="315"/>
                    </a:cubicBezTo>
                    <a:cubicBezTo>
                      <a:pt x="570" y="344"/>
                      <a:pt x="612" y="375"/>
                      <a:pt x="645" y="385"/>
                    </a:cubicBezTo>
                    <a:cubicBezTo>
                      <a:pt x="821" y="432"/>
                      <a:pt x="821" y="432"/>
                      <a:pt x="821" y="432"/>
                    </a:cubicBezTo>
                    <a:cubicBezTo>
                      <a:pt x="854" y="441"/>
                      <a:pt x="900" y="469"/>
                      <a:pt x="922" y="495"/>
                    </a:cubicBezTo>
                    <a:cubicBezTo>
                      <a:pt x="1001" y="584"/>
                      <a:pt x="1001" y="584"/>
                      <a:pt x="1001" y="584"/>
                    </a:cubicBezTo>
                    <a:cubicBezTo>
                      <a:pt x="1023" y="610"/>
                      <a:pt x="1014" y="637"/>
                      <a:pt x="981" y="645"/>
                    </a:cubicBezTo>
                    <a:close/>
                    <a:moveTo>
                      <a:pt x="868" y="486"/>
                    </a:moveTo>
                    <a:cubicBezTo>
                      <a:pt x="875" y="543"/>
                      <a:pt x="875" y="543"/>
                      <a:pt x="875" y="543"/>
                    </a:cubicBezTo>
                    <a:cubicBezTo>
                      <a:pt x="951" y="574"/>
                      <a:pt x="951" y="574"/>
                      <a:pt x="951" y="574"/>
                    </a:cubicBezTo>
                    <a:cubicBezTo>
                      <a:pt x="966" y="564"/>
                      <a:pt x="892" y="491"/>
                      <a:pt x="868" y="4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3E218B4E-E1FB-5658-25B5-F614791CBF27}"/>
              </a:ext>
            </a:extLst>
          </p:cNvPr>
          <p:cNvGrpSpPr/>
          <p:nvPr/>
        </p:nvGrpSpPr>
        <p:grpSpPr>
          <a:xfrm>
            <a:off x="6488936" y="3807806"/>
            <a:ext cx="720000" cy="720000"/>
            <a:chOff x="6213270" y="3801857"/>
            <a:chExt cx="720000" cy="720000"/>
          </a:xfrm>
        </p:grpSpPr>
        <p:sp>
          <p:nvSpPr>
            <p:cNvPr id="81" name="Ellipse 95">
              <a:extLst>
                <a:ext uri="{FF2B5EF4-FFF2-40B4-BE49-F238E27FC236}">
                  <a16:creationId xmlns:a16="http://schemas.microsoft.com/office/drawing/2014/main" id="{50045D08-3C97-C10B-ABFF-15E0EC1EABA5}"/>
                </a:ext>
              </a:extLst>
            </p:cNvPr>
            <p:cNvSpPr/>
            <p:nvPr/>
          </p:nvSpPr>
          <p:spPr>
            <a:xfrm>
              <a:off x="6213270" y="3801857"/>
              <a:ext cx="720000" cy="720000"/>
            </a:xfrm>
            <a:prstGeom prst="ellipse">
              <a:avLst/>
            </a:prstGeom>
            <a:solidFill>
              <a:srgbClr val="00658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0A5D59FF-AC1D-DB22-31F9-548F87071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210" y="3949444"/>
              <a:ext cx="488120" cy="424826"/>
            </a:xfrm>
            <a:custGeom>
              <a:avLst/>
              <a:gdLst>
                <a:gd name="T0" fmla="*/ 4 w 339"/>
                <a:gd name="T1" fmla="*/ 148 h 296"/>
                <a:gd name="T2" fmla="*/ 33 w 339"/>
                <a:gd name="T3" fmla="*/ 104 h 296"/>
                <a:gd name="T4" fmla="*/ 76 w 339"/>
                <a:gd name="T5" fmla="*/ 133 h 296"/>
                <a:gd name="T6" fmla="*/ 77 w 339"/>
                <a:gd name="T7" fmla="*/ 140 h 296"/>
                <a:gd name="T8" fmla="*/ 139 w 339"/>
                <a:gd name="T9" fmla="*/ 154 h 296"/>
                <a:gd name="T10" fmla="*/ 166 w 339"/>
                <a:gd name="T11" fmla="*/ 126 h 296"/>
                <a:gd name="T12" fmla="*/ 149 w 339"/>
                <a:gd name="T13" fmla="*/ 63 h 296"/>
                <a:gd name="T14" fmla="*/ 120 w 339"/>
                <a:gd name="T15" fmla="*/ 39 h 296"/>
                <a:gd name="T16" fmla="*/ 144 w 339"/>
                <a:gd name="T17" fmla="*/ 3 h 296"/>
                <a:gd name="T18" fmla="*/ 179 w 339"/>
                <a:gd name="T19" fmla="*/ 26 h 296"/>
                <a:gd name="T20" fmla="*/ 165 w 339"/>
                <a:gd name="T21" fmla="*/ 59 h 296"/>
                <a:gd name="T22" fmla="*/ 181 w 339"/>
                <a:gd name="T23" fmla="*/ 122 h 296"/>
                <a:gd name="T24" fmla="*/ 222 w 339"/>
                <a:gd name="T25" fmla="*/ 137 h 296"/>
                <a:gd name="T26" fmla="*/ 279 w 339"/>
                <a:gd name="T27" fmla="*/ 98 h 296"/>
                <a:gd name="T28" fmla="*/ 278 w 339"/>
                <a:gd name="T29" fmla="*/ 95 h 296"/>
                <a:gd name="T30" fmla="*/ 301 w 339"/>
                <a:gd name="T31" fmla="*/ 60 h 296"/>
                <a:gd name="T32" fmla="*/ 336 w 339"/>
                <a:gd name="T33" fmla="*/ 83 h 296"/>
                <a:gd name="T34" fmla="*/ 313 w 339"/>
                <a:gd name="T35" fmla="*/ 118 h 296"/>
                <a:gd name="T36" fmla="*/ 288 w 339"/>
                <a:gd name="T37" fmla="*/ 111 h 296"/>
                <a:gd name="T38" fmla="*/ 231 w 339"/>
                <a:gd name="T39" fmla="*/ 150 h 296"/>
                <a:gd name="T40" fmla="*/ 235 w 339"/>
                <a:gd name="T41" fmla="*/ 162 h 296"/>
                <a:gd name="T42" fmla="*/ 235 w 339"/>
                <a:gd name="T43" fmla="*/ 183 h 296"/>
                <a:gd name="T44" fmla="*/ 259 w 339"/>
                <a:gd name="T45" fmla="*/ 194 h 296"/>
                <a:gd name="T46" fmla="*/ 274 w 339"/>
                <a:gd name="T47" fmla="*/ 185 h 296"/>
                <a:gd name="T48" fmla="*/ 305 w 339"/>
                <a:gd name="T49" fmla="*/ 205 h 296"/>
                <a:gd name="T50" fmla="*/ 285 w 339"/>
                <a:gd name="T51" fmla="*/ 236 h 296"/>
                <a:gd name="T52" fmla="*/ 254 w 339"/>
                <a:gd name="T53" fmla="*/ 216 h 296"/>
                <a:gd name="T54" fmla="*/ 253 w 339"/>
                <a:gd name="T55" fmla="*/ 208 h 296"/>
                <a:gd name="T56" fmla="*/ 229 w 339"/>
                <a:gd name="T57" fmla="*/ 198 h 296"/>
                <a:gd name="T58" fmla="*/ 196 w 339"/>
                <a:gd name="T59" fmla="*/ 221 h 296"/>
                <a:gd name="T60" fmla="*/ 160 w 339"/>
                <a:gd name="T61" fmla="*/ 214 h 296"/>
                <a:gd name="T62" fmla="*/ 135 w 339"/>
                <a:gd name="T63" fmla="*/ 243 h 296"/>
                <a:gd name="T64" fmla="*/ 141 w 339"/>
                <a:gd name="T65" fmla="*/ 255 h 296"/>
                <a:gd name="T66" fmla="*/ 116 w 339"/>
                <a:gd name="T67" fmla="*/ 293 h 296"/>
                <a:gd name="T68" fmla="*/ 77 w 339"/>
                <a:gd name="T69" fmla="*/ 268 h 296"/>
                <a:gd name="T70" fmla="*/ 103 w 339"/>
                <a:gd name="T71" fmla="*/ 230 h 296"/>
                <a:gd name="T72" fmla="*/ 124 w 339"/>
                <a:gd name="T73" fmla="*/ 232 h 296"/>
                <a:gd name="T74" fmla="*/ 148 w 339"/>
                <a:gd name="T75" fmla="*/ 204 h 296"/>
                <a:gd name="T76" fmla="*/ 137 w 339"/>
                <a:gd name="T77" fmla="*/ 182 h 296"/>
                <a:gd name="T78" fmla="*/ 136 w 339"/>
                <a:gd name="T79" fmla="*/ 169 h 296"/>
                <a:gd name="T80" fmla="*/ 73 w 339"/>
                <a:gd name="T81" fmla="*/ 155 h 296"/>
                <a:gd name="T82" fmla="*/ 47 w 339"/>
                <a:gd name="T83" fmla="*/ 176 h 296"/>
                <a:gd name="T84" fmla="*/ 4 w 339"/>
                <a:gd name="T85" fmla="*/ 14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9" h="296">
                  <a:moveTo>
                    <a:pt x="4" y="148"/>
                  </a:moveTo>
                  <a:cubicBezTo>
                    <a:pt x="0" y="128"/>
                    <a:pt x="13" y="108"/>
                    <a:pt x="33" y="104"/>
                  </a:cubicBezTo>
                  <a:cubicBezTo>
                    <a:pt x="52" y="100"/>
                    <a:pt x="72" y="113"/>
                    <a:pt x="76" y="133"/>
                  </a:cubicBezTo>
                  <a:cubicBezTo>
                    <a:pt x="76" y="135"/>
                    <a:pt x="77" y="138"/>
                    <a:pt x="77" y="140"/>
                  </a:cubicBezTo>
                  <a:cubicBezTo>
                    <a:pt x="139" y="154"/>
                    <a:pt x="139" y="154"/>
                    <a:pt x="139" y="154"/>
                  </a:cubicBezTo>
                  <a:cubicBezTo>
                    <a:pt x="144" y="141"/>
                    <a:pt x="154" y="131"/>
                    <a:pt x="166" y="126"/>
                  </a:cubicBezTo>
                  <a:cubicBezTo>
                    <a:pt x="149" y="63"/>
                    <a:pt x="149" y="63"/>
                    <a:pt x="149" y="63"/>
                  </a:cubicBezTo>
                  <a:cubicBezTo>
                    <a:pt x="136" y="62"/>
                    <a:pt x="123" y="53"/>
                    <a:pt x="120" y="39"/>
                  </a:cubicBezTo>
                  <a:cubicBezTo>
                    <a:pt x="117" y="22"/>
                    <a:pt x="127" y="6"/>
                    <a:pt x="144" y="3"/>
                  </a:cubicBezTo>
                  <a:cubicBezTo>
                    <a:pt x="160" y="0"/>
                    <a:pt x="176" y="10"/>
                    <a:pt x="179" y="26"/>
                  </a:cubicBezTo>
                  <a:cubicBezTo>
                    <a:pt x="182" y="39"/>
                    <a:pt x="176" y="52"/>
                    <a:pt x="165" y="59"/>
                  </a:cubicBezTo>
                  <a:cubicBezTo>
                    <a:pt x="181" y="122"/>
                    <a:pt x="181" y="122"/>
                    <a:pt x="181" y="122"/>
                  </a:cubicBezTo>
                  <a:cubicBezTo>
                    <a:pt x="197" y="120"/>
                    <a:pt x="212" y="126"/>
                    <a:pt x="222" y="137"/>
                  </a:cubicBezTo>
                  <a:cubicBezTo>
                    <a:pt x="279" y="98"/>
                    <a:pt x="279" y="98"/>
                    <a:pt x="279" y="98"/>
                  </a:cubicBezTo>
                  <a:cubicBezTo>
                    <a:pt x="278" y="97"/>
                    <a:pt x="278" y="96"/>
                    <a:pt x="278" y="95"/>
                  </a:cubicBezTo>
                  <a:cubicBezTo>
                    <a:pt x="275" y="79"/>
                    <a:pt x="285" y="63"/>
                    <a:pt x="301" y="60"/>
                  </a:cubicBezTo>
                  <a:cubicBezTo>
                    <a:pt x="317" y="57"/>
                    <a:pt x="332" y="67"/>
                    <a:pt x="336" y="83"/>
                  </a:cubicBezTo>
                  <a:cubicBezTo>
                    <a:pt x="339" y="99"/>
                    <a:pt x="329" y="115"/>
                    <a:pt x="313" y="118"/>
                  </a:cubicBezTo>
                  <a:cubicBezTo>
                    <a:pt x="303" y="120"/>
                    <a:pt x="294" y="117"/>
                    <a:pt x="288" y="111"/>
                  </a:cubicBezTo>
                  <a:cubicBezTo>
                    <a:pt x="231" y="150"/>
                    <a:pt x="231" y="150"/>
                    <a:pt x="231" y="150"/>
                  </a:cubicBezTo>
                  <a:cubicBezTo>
                    <a:pt x="233" y="154"/>
                    <a:pt x="234" y="157"/>
                    <a:pt x="235" y="162"/>
                  </a:cubicBezTo>
                  <a:cubicBezTo>
                    <a:pt x="237" y="169"/>
                    <a:pt x="236" y="176"/>
                    <a:pt x="235" y="183"/>
                  </a:cubicBezTo>
                  <a:cubicBezTo>
                    <a:pt x="259" y="194"/>
                    <a:pt x="259" y="194"/>
                    <a:pt x="259" y="194"/>
                  </a:cubicBezTo>
                  <a:cubicBezTo>
                    <a:pt x="263" y="189"/>
                    <a:pt x="268" y="186"/>
                    <a:pt x="274" y="185"/>
                  </a:cubicBezTo>
                  <a:cubicBezTo>
                    <a:pt x="288" y="182"/>
                    <a:pt x="302" y="191"/>
                    <a:pt x="305" y="205"/>
                  </a:cubicBezTo>
                  <a:cubicBezTo>
                    <a:pt x="308" y="219"/>
                    <a:pt x="299" y="233"/>
                    <a:pt x="285" y="236"/>
                  </a:cubicBezTo>
                  <a:cubicBezTo>
                    <a:pt x="270" y="239"/>
                    <a:pt x="257" y="230"/>
                    <a:pt x="254" y="216"/>
                  </a:cubicBezTo>
                  <a:cubicBezTo>
                    <a:pt x="253" y="213"/>
                    <a:pt x="253" y="211"/>
                    <a:pt x="253" y="208"/>
                  </a:cubicBezTo>
                  <a:cubicBezTo>
                    <a:pt x="229" y="198"/>
                    <a:pt x="229" y="198"/>
                    <a:pt x="229" y="198"/>
                  </a:cubicBezTo>
                  <a:cubicBezTo>
                    <a:pt x="222" y="209"/>
                    <a:pt x="210" y="218"/>
                    <a:pt x="196" y="221"/>
                  </a:cubicBezTo>
                  <a:cubicBezTo>
                    <a:pt x="183" y="223"/>
                    <a:pt x="170" y="221"/>
                    <a:pt x="160" y="214"/>
                  </a:cubicBezTo>
                  <a:cubicBezTo>
                    <a:pt x="135" y="243"/>
                    <a:pt x="135" y="243"/>
                    <a:pt x="135" y="243"/>
                  </a:cubicBezTo>
                  <a:cubicBezTo>
                    <a:pt x="138" y="246"/>
                    <a:pt x="140" y="250"/>
                    <a:pt x="141" y="255"/>
                  </a:cubicBezTo>
                  <a:cubicBezTo>
                    <a:pt x="144" y="272"/>
                    <a:pt x="133" y="289"/>
                    <a:pt x="116" y="293"/>
                  </a:cubicBezTo>
                  <a:cubicBezTo>
                    <a:pt x="98" y="296"/>
                    <a:pt x="81" y="285"/>
                    <a:pt x="77" y="268"/>
                  </a:cubicBezTo>
                  <a:cubicBezTo>
                    <a:pt x="74" y="250"/>
                    <a:pt x="85" y="233"/>
                    <a:pt x="103" y="230"/>
                  </a:cubicBezTo>
                  <a:cubicBezTo>
                    <a:pt x="110" y="228"/>
                    <a:pt x="117" y="229"/>
                    <a:pt x="124" y="232"/>
                  </a:cubicBezTo>
                  <a:cubicBezTo>
                    <a:pt x="148" y="204"/>
                    <a:pt x="148" y="204"/>
                    <a:pt x="148" y="204"/>
                  </a:cubicBezTo>
                  <a:cubicBezTo>
                    <a:pt x="143" y="198"/>
                    <a:pt x="139" y="190"/>
                    <a:pt x="137" y="182"/>
                  </a:cubicBezTo>
                  <a:cubicBezTo>
                    <a:pt x="136" y="177"/>
                    <a:pt x="136" y="173"/>
                    <a:pt x="136" y="169"/>
                  </a:cubicBezTo>
                  <a:cubicBezTo>
                    <a:pt x="73" y="155"/>
                    <a:pt x="73" y="155"/>
                    <a:pt x="73" y="155"/>
                  </a:cubicBezTo>
                  <a:cubicBezTo>
                    <a:pt x="69" y="166"/>
                    <a:pt x="59" y="174"/>
                    <a:pt x="47" y="176"/>
                  </a:cubicBezTo>
                  <a:cubicBezTo>
                    <a:pt x="27" y="180"/>
                    <a:pt x="8" y="167"/>
                    <a:pt x="4" y="1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79815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/>
      <p:bldP spid="92" grpId="0"/>
      <p:bldP spid="9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Introduction and Background</a:t>
            </a:r>
            <a:br>
              <a:rPr lang="en-US" sz="3200" dirty="0"/>
            </a:br>
            <a:r>
              <a:rPr lang="en-US" sz="2400" dirty="0"/>
              <a:t>Air Cargo, Regional Operations, and UAS</a:t>
            </a: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4" y="1409489"/>
            <a:ext cx="11376025" cy="4895850"/>
          </a:xfrm>
        </p:spPr>
        <p:txBody>
          <a:bodyPr>
            <a:normAutofit/>
          </a:bodyPr>
          <a:lstStyle/>
          <a:p>
            <a:r>
              <a:rPr lang="en-US" dirty="0"/>
              <a:t>Recent developments in aircraft technology and government efforts have led to a </a:t>
            </a:r>
            <a:r>
              <a:rPr lang="en-US" b="1" dirty="0">
                <a:solidFill>
                  <a:srgbClr val="00658B"/>
                </a:solidFill>
              </a:rPr>
              <a:t>renewed interest in regional operations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Increasingly </a:t>
            </a:r>
            <a:r>
              <a:rPr lang="en-US" b="1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autonomous aircraft </a:t>
            </a:r>
            <a:r>
              <a:rPr lang="en-US" dirty="0">
                <a:latin typeface="Arial" pitchFamily="34" charset="0"/>
                <a:cs typeface="Arial" pitchFamily="34" charset="0"/>
              </a:rPr>
              <a:t>are strongly desired to mitigate pilot shortages and enable </a:t>
            </a:r>
            <a:r>
              <a:rPr lang="en-US" b="1" dirty="0">
                <a:solidFill>
                  <a:srgbClr val="00658B"/>
                </a:solidFill>
              </a:rPr>
              <a:t>highly scalable operations </a:t>
            </a:r>
          </a:p>
          <a:p>
            <a:r>
              <a:rPr lang="en-US" b="1" dirty="0">
                <a:solidFill>
                  <a:srgbClr val="00658B"/>
                </a:solidFill>
              </a:rPr>
              <a:t>Regional air cargo </a:t>
            </a:r>
            <a:r>
              <a:rPr lang="en-US" dirty="0">
                <a:latin typeface="Arial" pitchFamily="34" charset="0"/>
                <a:cs typeface="Arial" pitchFamily="34" charset="0"/>
              </a:rPr>
              <a:t>presents an </a:t>
            </a:r>
            <a:r>
              <a:rPr lang="en-US" b="1" dirty="0">
                <a:solidFill>
                  <a:srgbClr val="00658B"/>
                </a:solidFill>
                <a:latin typeface="Arial" pitchFamily="34" charset="0"/>
                <a:cs typeface="Arial" pitchFamily="34" charset="0"/>
              </a:rPr>
              <a:t>excellent initial use case</a:t>
            </a:r>
            <a:r>
              <a:rPr lang="en-US" dirty="0">
                <a:latin typeface="Arial" pitchFamily="34" charset="0"/>
                <a:cs typeface="Arial" pitchFamily="34" charset="0"/>
              </a:rPr>
              <a:t> for the development of these technologies:</a:t>
            </a:r>
          </a:p>
          <a:p>
            <a:pPr lvl="1"/>
            <a:r>
              <a:rPr lang="en-US" dirty="0"/>
              <a:t>Short-haul flights</a:t>
            </a:r>
          </a:p>
          <a:p>
            <a:pPr lvl="1"/>
            <a:r>
              <a:rPr lang="en-US" dirty="0">
                <a:latin typeface="Arial" pitchFamily="34" charset="0"/>
                <a:cs typeface="Arial" pitchFamily="34" charset="0"/>
              </a:rPr>
              <a:t>No person on board, so fewer certification hurdles</a:t>
            </a:r>
          </a:p>
          <a:p>
            <a:pPr lvl="1"/>
            <a:r>
              <a:rPr lang="en-US" dirty="0"/>
              <a:t>Increasing access to under-served airports and communities</a:t>
            </a:r>
          </a:p>
          <a:p>
            <a:pPr lvl="1"/>
            <a:r>
              <a:rPr lang="en-US" dirty="0">
                <a:latin typeface="Arial" pitchFamily="34" charset="0"/>
                <a:cs typeface="Arial" pitchFamily="34" charset="0"/>
              </a:rPr>
              <a:t>Better pilot and resource utilization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Establish a baseline and </a:t>
            </a:r>
            <a:r>
              <a:rPr lang="en-US" b="1" dirty="0">
                <a:solidFill>
                  <a:srgbClr val="00658B"/>
                </a:solidFill>
              </a:rPr>
              <a:t>assess the accessibility potential of cargo UAS</a:t>
            </a: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033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E7A25-599D-51ED-47D3-E0BAE5C72B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Introduction and Background</a:t>
            </a:r>
            <a:endParaRPr lang="en-US" dirty="0">
              <a:solidFill>
                <a:schemeClr val="accent6"/>
              </a:solidFill>
            </a:endParaRP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/>
              <a:t>Scope and Research Ques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ccessibility Characteristics of Regional Cargo UAS Opera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</a:rPr>
              <a:t>Accessibility Potential of Regional Cargo UAS Operations</a:t>
            </a:r>
          </a:p>
          <a:p>
            <a:pPr marL="457200" indent="-457200">
              <a:spcBef>
                <a:spcPts val="1600"/>
              </a:spcBef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onclusions and </a:t>
            </a:r>
            <a:r>
              <a:rPr lang="en-US" dirty="0">
                <a:solidFill>
                  <a:schemeClr val="accent6"/>
                </a:solidFill>
              </a:rPr>
              <a:t>F</a:t>
            </a:r>
            <a:r>
              <a:rPr lang="en-US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uture Work</a:t>
            </a:r>
          </a:p>
          <a:p>
            <a:endParaRPr lang="en-US" sz="28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62259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9840D7-80C8-4228-243D-CDC493B9D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9840D7-80C8-4228-243D-CDC493B9D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C38CF-8ABE-643C-E432-486171FE3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658B"/>
                </a:solidFill>
              </a:rPr>
              <a:t>Scope and Research Ques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6C5F4-B7AD-10CA-45AE-8DC1CABB2E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ADABB7-F9A6-4A4D-9415-296AC5E687F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C4F760C-7095-31C9-09DB-B54DAE5F15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3060" y="1272493"/>
            <a:ext cx="10763614" cy="25205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00658B"/>
                </a:solidFill>
              </a:rPr>
              <a:t>Identify airports suitable for initial cargo UAS operations</a:t>
            </a:r>
          </a:p>
          <a:p>
            <a:pPr lvl="1">
              <a:spcBef>
                <a:spcPts val="1700"/>
              </a:spcBef>
            </a:pPr>
            <a:r>
              <a:rPr lang="en-US" u="sng" dirty="0"/>
              <a:t>Establish a baseline:</a:t>
            </a:r>
            <a:r>
              <a:rPr lang="en-US" dirty="0"/>
              <a:t> What kind of airports are suitable for initial cargo UAS operations?</a:t>
            </a:r>
          </a:p>
          <a:p>
            <a:pPr lvl="2">
              <a:spcBef>
                <a:spcPts val="1700"/>
              </a:spcBef>
            </a:pPr>
            <a:r>
              <a:rPr lang="en-US" sz="2000" dirty="0"/>
              <a:t>Define those suitable for initial cargo UAS operations as </a:t>
            </a:r>
            <a:r>
              <a:rPr lang="en-US" sz="2000" i="1" dirty="0"/>
              <a:t>potential UAS airports</a:t>
            </a:r>
          </a:p>
          <a:p>
            <a:pPr lvl="2">
              <a:spcBef>
                <a:spcPts val="1100"/>
              </a:spcBef>
            </a:pPr>
            <a:r>
              <a:rPr lang="en-US" sz="2000" dirty="0"/>
              <a:t>How many of these potential UAS airports provide currently certified landing systems most likely to be used for initial UAS operations?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3D730604-842E-0FE5-A43E-6622740974E9}"/>
              </a:ext>
            </a:extLst>
          </p:cNvPr>
          <p:cNvSpPr txBox="1">
            <a:spLocks/>
          </p:cNvSpPr>
          <p:nvPr/>
        </p:nvSpPr>
        <p:spPr>
          <a:xfrm>
            <a:off x="738719" y="3793066"/>
            <a:ext cx="11281666" cy="24797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sess the accessibility potential of cargo UAS operations at these airports</a:t>
            </a:r>
          </a:p>
          <a:p>
            <a:pPr lvl="1">
              <a:spcBef>
                <a:spcPts val="1700"/>
              </a:spcBef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ow many potential UAS airports </a:t>
            </a:r>
            <a:r>
              <a:rPr lang="en-US" dirty="0">
                <a:solidFill>
                  <a:srgbClr val="000000"/>
                </a:solidFill>
              </a:rPr>
              <a:t>would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e accessible for cargo UAS operations… </a:t>
            </a:r>
          </a:p>
          <a:p>
            <a:pPr lvl="2">
              <a:defRPr/>
            </a:pPr>
            <a:r>
              <a:rPr lang="en-US" sz="2000" dirty="0">
                <a:solidFill>
                  <a:srgbClr val="000000"/>
                </a:solidFill>
              </a:rPr>
              <a:t>…in total? </a:t>
            </a:r>
          </a:p>
          <a:p>
            <a:pPr lvl="2"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…based on </a:t>
            </a:r>
            <a:r>
              <a:rPr lang="en-US" sz="2000" dirty="0">
                <a:solidFill>
                  <a:srgbClr val="000000"/>
                </a:solidFill>
              </a:rPr>
              <a:t>specific regional aircraft types currently in us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497054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11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1.00000000000000000000E+00&quot;&gt;&lt;m_msothmcolidx val=&quot;0&quot;/&gt;&lt;m_rgb r=&quot;FB&quot; g=&quot;C5&quot; b=&quot;39&quot;/&gt;&lt;/elem&gt;&lt;elem m_fUsage=&quot;9.00000000000000022204E-01&quot;&gt;&lt;m_msothmcolidx val=&quot;0&quot;/&gt;&lt;m_rgb r=&quot;FF&quot; g=&quot;AA&quot; b=&quot;61&quot;/&gt;&lt;/elem&gt;&lt;elem m_fUsage=&quot;8.10000000000000053291E-01&quot;&gt;&lt;m_msothmcolidx val=&quot;0&quot;/&gt;&lt;m_rgb r=&quot;FF&quot; g=&quot;D3&quot; b=&quot;00&quot;/&gt;&lt;/elem&gt;&lt;elem m_fUsage=&quot;7.29000000000000092371E-01&quot;&gt;&lt;m_msothmcolidx val=&quot;0&quot;/&gt;&lt;m_rgb r=&quot;FF&quot; g=&quot;9B&quot; b=&quot;09&quot;/&gt;&lt;/elem&gt;&lt;elem m_fUsage=&quot;6.56100000000000127542E-01&quot;&gt;&lt;m_msothmcolidx val=&quot;0&quot;/&gt;&lt;m_rgb r=&quot;BB&quot; g=&quot;C9&quot; b=&quot;9D&quot;/&gt;&lt;/elem&gt;&lt;elem m_fUsage=&quot;5.90490000000000181402E-01&quot;&gt;&lt;m_msothmcolidx val=&quot;0&quot;/&gt;&lt;m_rgb r=&quot;F6&quot; g=&quot;F7&quot; b=&quot;CD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I1sw8kFxz155Pq61ot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yCu2NIZxelmT8iUfe8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lTjCFLJHrIaseTv806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wRNHl3cievQGL8CoVvU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s5d5r2Z31N0saaBjfgf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UNlttVp8.prczGEnWx0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AQb8JTyXHkfOwUFwfg8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tAf6IBAL5saXsXffSL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3SOaXIAVnFmN9HUjWm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tX5C0zad558cI26wMG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DLR">
      <a:dk1>
        <a:srgbClr val="000000"/>
      </a:dk1>
      <a:lt1>
        <a:srgbClr val="FFFFFF"/>
      </a:lt1>
      <a:dk2>
        <a:srgbClr val="464646"/>
      </a:dk2>
      <a:lt2>
        <a:srgbClr val="FFFFFF"/>
      </a:lt2>
      <a:accent1>
        <a:srgbClr val="00658B"/>
      </a:accent1>
      <a:accent2>
        <a:srgbClr val="F8DE53"/>
      </a:accent2>
      <a:accent3>
        <a:srgbClr val="0094A8"/>
      </a:accent3>
      <a:accent4>
        <a:srgbClr val="B7D260"/>
      </a:accent4>
      <a:accent5>
        <a:srgbClr val="5F98CB"/>
      </a:accent5>
      <a:accent6>
        <a:srgbClr val="B1B1B1"/>
      </a:accent6>
      <a:hlink>
        <a:srgbClr val="00B0F0"/>
      </a:hlink>
      <a:folHlink>
        <a:srgbClr val="00658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00658B"/>
    </a:custClr>
    <a:custClr name="Blau 2">
      <a:srgbClr val="3B98CB"/>
    </a:custClr>
    <a:custClr name="Blau 3">
      <a:srgbClr val="6CB9DC"/>
    </a:custClr>
    <a:custClr name="Blau 4">
      <a:srgbClr val="A7D3EC"/>
    </a:custClr>
    <a:custClr name="Blau 5">
      <a:srgbClr val="D1E8FA"/>
    </a:custClr>
    <a:custClr name="Gelb 1">
      <a:srgbClr val="D2AE3D"/>
    </a:custClr>
    <a:custClr name="Gelb 2">
      <a:srgbClr val="F2CD51"/>
    </a:custClr>
    <a:custClr name="Gelb 3">
      <a:srgbClr val="F8DE53"/>
    </a:custClr>
    <a:custClr name="Gelb 4">
      <a:srgbClr val="FCEA7A"/>
    </a:custClr>
    <a:custClr name="Gelb 5">
      <a:srgbClr val="FFF8BE"/>
    </a:custClr>
    <a:custClr name="Grün 1">
      <a:srgbClr val="82A043"/>
    </a:custClr>
    <a:custClr name="Grün 2">
      <a:srgbClr val="A6BF51"/>
    </a:custClr>
    <a:custClr name="Grün 3">
      <a:srgbClr val="CAD55C"/>
    </a:custClr>
    <a:custClr name="Grün 4">
      <a:srgbClr val="D9DF78"/>
    </a:custClr>
    <a:custClr name="Grün 5">
      <a:srgbClr val="E6EAAF"/>
    </a:custClr>
    <a:custClr name="Grau 1">
      <a:srgbClr val="666666"/>
    </a:custClr>
    <a:custClr name="Grau 2">
      <a:srgbClr val="868585"/>
    </a:custClr>
    <a:custClr name="Grau 3">
      <a:srgbClr val="B1B1B1"/>
    </a:custClr>
    <a:custClr name="Grau 4">
      <a:srgbClr val="CFCFCF"/>
    </a:custClr>
    <a:custClr name="Grau 5">
      <a:srgbClr val="EBEBE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9904D12-293F-4E3A-B5C9-9355D8232F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0D91400-7C79-40AA-88AA-FD53CF9B1A2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4393BF6-D4B9-4D51-88F5-78281805825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4043</Words>
  <Application>Microsoft Office PowerPoint</Application>
  <PresentationFormat>Widescreen</PresentationFormat>
  <Paragraphs>690</Paragraphs>
  <Slides>37</Slides>
  <Notes>36</Notes>
  <HiddenSlides>4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39" baseType="lpstr">
      <vt:lpstr>Office Theme</vt:lpstr>
      <vt:lpstr>Office</vt:lpstr>
      <vt:lpstr>Comparative Analysis of Airspace System Accessibility for Uncrewed Aircraft Systems for Regional Operations</vt:lpstr>
      <vt:lpstr>Overview</vt:lpstr>
      <vt:lpstr>Introduction and Background Motivation</vt:lpstr>
      <vt:lpstr>Introduction and Background Air Cargo Introduction</vt:lpstr>
      <vt:lpstr>Introduction and Background Key Air Cargo Issues</vt:lpstr>
      <vt:lpstr>Introduction and Background Key UAS Issues</vt:lpstr>
      <vt:lpstr>Introduction and Background Air Cargo, Regional Operations, and UAS</vt:lpstr>
      <vt:lpstr>Overview</vt:lpstr>
      <vt:lpstr>Scope and Research Questions</vt:lpstr>
      <vt:lpstr>Overview</vt:lpstr>
      <vt:lpstr>Accessibility Characteristics of Regional Cargo UAS Country/State Comparison</vt:lpstr>
      <vt:lpstr>Accessibility Characteristics of Regional Cargo UAS Regional Aircraft Type Comparison – Country/State</vt:lpstr>
      <vt:lpstr>Accessibility Characteristics of Regional Cargo UAS But which airports really qualify for initial cargo UAS operations?  </vt:lpstr>
      <vt:lpstr>Accessibility Characteristics of Regional Cargo UAS Identifying Potential UAS Airports</vt:lpstr>
      <vt:lpstr>Accessibility Characteristics of Regional Cargo UAS Landing Systems / Instrument Approach Procedures</vt:lpstr>
      <vt:lpstr>Overview</vt:lpstr>
      <vt:lpstr>Accessibility Potential of Regional Cargo UAS Potential UAS Airports – Country/State</vt:lpstr>
      <vt:lpstr>Accessibility Potential of Regional Cargo UAS Public Airports – Germany</vt:lpstr>
      <vt:lpstr>Accessibility Potential of Regional Cargo UAS Public Airports – Texas</vt:lpstr>
      <vt:lpstr>Accessibility Potential of Regional Cargo UAS Public Airports – California</vt:lpstr>
      <vt:lpstr>Accessibility Potential of Regional Cargo UAS Regional Cargo Aircraft Eligible for UAS Operations </vt:lpstr>
      <vt:lpstr>Overview</vt:lpstr>
      <vt:lpstr>Conclusions</vt:lpstr>
      <vt:lpstr>Future Work and Next Steps </vt:lpstr>
      <vt:lpstr>Thank You!</vt:lpstr>
      <vt:lpstr>Accessibility Characteristics of Regional Cargo UAS Regional Aircraft Type Comparison – Europe/US</vt:lpstr>
      <vt:lpstr>Characteristics of Regional Air Cargo Operations</vt:lpstr>
      <vt:lpstr>Characteristics of Regional Air Cargo Operations What type of aircraft are flying?</vt:lpstr>
      <vt:lpstr>Characteristics of Regional Air Cargo Operations </vt:lpstr>
      <vt:lpstr>Characteristics of Regional Air Cargo Operations What percentage of operations are regional?</vt:lpstr>
      <vt:lpstr>Characteristics of Regional Air Cargo Operations Where are flights occurring?</vt:lpstr>
      <vt:lpstr>Characteristics of Regional Air Cargo Operations Where are flights occurring?</vt:lpstr>
      <vt:lpstr>Assessing the Potential of Cargo UAS Overall</vt:lpstr>
      <vt:lpstr>Accessibility Characteristics of Regional Cargo UAS Europe/US Comparison</vt:lpstr>
      <vt:lpstr>Accessibility Characteristics of Regional Cargo UAS Landing Systems / Instrument Approach Procedures</vt:lpstr>
      <vt:lpstr>Accessibility Potential of Regional Cargo UAS Regional Cargo Aircraft Eligible for UAS Operations </vt:lpstr>
      <vt:lpstr>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ugh,Mackenzie C</dc:creator>
  <cp:lastModifiedBy>Sakakeeny, Jordan A. (ARC-AFH)</cp:lastModifiedBy>
  <cp:revision>284</cp:revision>
  <dcterms:created xsi:type="dcterms:W3CDTF">2023-04-07T14:21:11Z</dcterms:created>
  <dcterms:modified xsi:type="dcterms:W3CDTF">2023-10-03T23:44:00Z</dcterms:modified>
</cp:coreProperties>
</file>